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84" r:id="rId4"/>
  </p:sldMasterIdLst>
  <p:notesMasterIdLst>
    <p:notesMasterId r:id="rId19"/>
  </p:notesMasterIdLst>
  <p:handoutMasterIdLst>
    <p:handoutMasterId r:id="rId20"/>
  </p:handoutMasterIdLst>
  <p:sldIdLst>
    <p:sldId id="256" r:id="rId5"/>
    <p:sldId id="2147376554" r:id="rId6"/>
    <p:sldId id="2147376555" r:id="rId7"/>
    <p:sldId id="261" r:id="rId8"/>
    <p:sldId id="269" r:id="rId9"/>
    <p:sldId id="2147376542" r:id="rId10"/>
    <p:sldId id="2147376550" r:id="rId11"/>
    <p:sldId id="2147376551" r:id="rId12"/>
    <p:sldId id="2147376545" r:id="rId13"/>
    <p:sldId id="257" r:id="rId14"/>
    <p:sldId id="2147376546" r:id="rId15"/>
    <p:sldId id="2147376547" r:id="rId16"/>
    <p:sldId id="2147376553" r:id="rId17"/>
    <p:sldId id="2147376549" r:id="rId18"/>
  </p:sldIdLst>
  <p:sldSz cx="12192000" cy="6858000"/>
  <p:notesSz cx="9144000" cy="6858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33"/>
    <a:srgbClr val="F44D47"/>
    <a:srgbClr val="666666"/>
    <a:srgbClr val="E32119"/>
    <a:srgbClr val="000000"/>
    <a:srgbClr val="FDC304"/>
    <a:srgbClr val="82CBD4"/>
    <a:srgbClr val="95C121"/>
    <a:srgbClr val="EF7E05"/>
    <a:srgbClr val="1BACE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978BE3D-E2B1-40CE-9F22-ECADB8DCDA13}" v="15" dt="2025-04-07T12:13:55.67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950" autoAdjust="0"/>
    <p:restoredTop sz="93792" autoAdjust="0"/>
  </p:normalViewPr>
  <p:slideViewPr>
    <p:cSldViewPr snapToGrid="0">
      <p:cViewPr varScale="1">
        <p:scale>
          <a:sx n="70" d="100"/>
          <a:sy n="70" d="100"/>
        </p:scale>
        <p:origin x="508" y="48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67" d="100"/>
          <a:sy n="67" d="100"/>
        </p:scale>
        <p:origin x="1868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B768DAB-FE87-4CAB-AEAC-2A9EBE5551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9FC4E2-F6F1-419C-9F44-302787CC4AC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D87A0D-4AE4-469D-8C0F-1E3E19CC0F04}" type="datetimeFigureOut">
              <a:rPr lang="en-GB" smtClean="0"/>
              <a:t>1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34850C-42C4-41F0-AA1F-2F442460B52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3B8400-D95F-432A-B8B1-FBF545FE074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F9E6EB-C898-47AB-9193-70CED8AB477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0400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E864C0-77EE-456B-9747-0A15F816AD6A}" type="datetimeFigureOut">
              <a:rPr lang="en-GB" smtClean="0"/>
              <a:t>15/04/202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C1A71F-ED3E-4A54-969C-A8BBEECB2EB9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98453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C1A71F-ED3E-4A54-969C-A8BBEECB2EB9}" type="slidenum">
              <a:rPr lang="en-GB" smtClean="0"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58354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C1A71F-ED3E-4A54-969C-A8BBEECB2EB9}" type="slidenum">
              <a:rPr lang="en-GB" smtClean="0"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0296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Win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person sitting at a table&#10;&#10;Description automatically generated">
            <a:extLst>
              <a:ext uri="{FF2B5EF4-FFF2-40B4-BE49-F238E27FC236}">
                <a16:creationId xmlns:a16="http://schemas.microsoft.com/office/drawing/2014/main" id="{3747B2C2-D7DB-F96A-CA19-BCB21C0057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5"/>
          <a:stretch/>
        </p:blipFill>
        <p:spPr>
          <a:xfrm>
            <a:off x="0" y="0"/>
            <a:ext cx="12209138" cy="6857999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B673D9D7-75A6-4AE4-226E-79C397A287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6CB0B91-34B3-9F5A-BAC8-A94E7886C5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CBE09BC7-40D7-5252-6C1C-F503A117A81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16525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, D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 descr="A red dart hitting the center of a dartboard&#10;&#10;Description automatically generated">
            <a:extLst>
              <a:ext uri="{FF2B5EF4-FFF2-40B4-BE49-F238E27FC236}">
                <a16:creationId xmlns:a16="http://schemas.microsoft.com/office/drawing/2014/main" id="{06ECAB87-E9E8-9269-808A-AE4DA532E9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7989" cy="68579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6C2E891-B959-F4FF-6A83-B747674531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192000" cy="685799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2AD34DE-EF1F-16E6-F0D2-10F19E7576A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7F44D47-D220-6FFA-2D73-0A6D2C428F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2FC88151-035A-659B-D320-5D73A11CB74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4544" y="1781175"/>
            <a:ext cx="9857140" cy="4360769"/>
          </a:xfrm>
          <a:prstGeom prst="rect">
            <a:avLst/>
          </a:prstGeom>
        </p:spPr>
        <p:txBody>
          <a:bodyPr/>
          <a:lstStyle>
            <a:lvl1pPr marL="4572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 b="1">
                <a:solidFill>
                  <a:schemeClr val="bg1"/>
                </a:solidFill>
              </a:defRPr>
            </a:lvl1pPr>
            <a:lvl2pPr marL="9144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2pPr>
            <a:lvl3pPr marL="13716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agenda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CDBCA269-E9DF-2374-02B1-C006B63140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, E.G.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78073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, P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group of kids pulling a rope&#10;&#10;Description automatically generated">
            <a:extLst>
              <a:ext uri="{FF2B5EF4-FFF2-40B4-BE49-F238E27FC236}">
                <a16:creationId xmlns:a16="http://schemas.microsoft.com/office/drawing/2014/main" id="{56250658-E613-41DD-E1F3-EBA5C69167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5" y="0"/>
            <a:ext cx="12192000" cy="68579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6C2E891-B959-F4FF-6A83-B747674531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2AD34DE-EF1F-16E6-F0D2-10F19E7576A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32146C0-C60E-7AAF-EBD4-64C0DB26B87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4544" y="1781175"/>
            <a:ext cx="9857140" cy="4360769"/>
          </a:xfrm>
          <a:prstGeom prst="rect">
            <a:avLst/>
          </a:prstGeom>
        </p:spPr>
        <p:txBody>
          <a:bodyPr/>
          <a:lstStyle>
            <a:lvl1pPr marL="4572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 b="1">
                <a:solidFill>
                  <a:schemeClr val="bg1"/>
                </a:solidFill>
              </a:defRPr>
            </a:lvl1pPr>
            <a:lvl2pPr marL="9144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2pPr>
            <a:lvl3pPr marL="13716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agend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F8D150C-BED2-6991-33E2-B68B31852D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2ACC9F6F-C062-025D-B837-A281429D7A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, E.G.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47435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F829B6-8F65-9C49-8B56-C81689650C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100677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single title, upper cas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6A71-AA71-0340-ADDE-15A0DA0261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10039124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E8C924B-FE6C-4195-94BA-9C7F88E4620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2ADCCE5-13D3-CE70-0806-5B9AFDFE49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31BA0255-B68A-F247-A437-8EA9512663F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475563C-D454-5866-91F5-422E7E96B7D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2567530D-C0DE-CB06-FBF9-CAD198CA90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33A244C7-8D54-ABB4-6BD3-94A6070E2A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1902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F748C296-1AF5-F847-854D-2C0B9016D0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1009627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double title,</a:t>
            </a:r>
            <a:br>
              <a:rPr lang="en-US" dirty="0"/>
            </a:br>
            <a:r>
              <a:rPr lang="en-US" dirty="0"/>
              <a:t>upper cas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ABC905B-966A-324C-BD60-0E81083AC3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5" y="1468614"/>
            <a:ext cx="10067699" cy="27591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FCE2DE8-03B2-4D41-8C78-EBE9436DA30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AE697FE-9F90-4E61-A5A4-654ACBE73B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3A0B263F-3014-55F6-0546-D7E9A23B80C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157C870-9501-4331-FCE1-7C5D289D151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CE69A10F-CEFA-57E0-B395-AB5769B8DD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EEC3C1A-4249-C6CD-BEE3-3632FD25D9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329247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Wi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close-up of a windmill&#10;&#10;Description automatically generated">
            <a:extLst>
              <a:ext uri="{FF2B5EF4-FFF2-40B4-BE49-F238E27FC236}">
                <a16:creationId xmlns:a16="http://schemas.microsoft.com/office/drawing/2014/main" id="{615FB81F-FAC9-B398-6A98-C241E9E2DE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79721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00F66D9-CD2E-B4EF-3856-45381210F9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41189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R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person reading a paper&#10;&#10;Description automatically generated">
            <a:extLst>
              <a:ext uri="{FF2B5EF4-FFF2-40B4-BE49-F238E27FC236}">
                <a16:creationId xmlns:a16="http://schemas.microsoft.com/office/drawing/2014/main" id="{3747269B-3FFA-D268-DCDB-A7CC7BCCAC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1219199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2" y="-1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4B8FB92-66BA-B898-5637-878EF6BC97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00114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Ch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child sitting in a chair with his feet on the radiator&#10;&#10;Description automatically generated">
            <a:extLst>
              <a:ext uri="{FF2B5EF4-FFF2-40B4-BE49-F238E27FC236}">
                <a16:creationId xmlns:a16="http://schemas.microsoft.com/office/drawing/2014/main" id="{CEAC376B-CCB0-2363-6C56-83FCF3F8C8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70DE8BC-FDB4-6154-C871-0783F60E23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53604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Lea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Sun shining through the leaves of a plant&#10;&#10;Description automatically generated">
            <a:extLst>
              <a:ext uri="{FF2B5EF4-FFF2-40B4-BE49-F238E27FC236}">
                <a16:creationId xmlns:a16="http://schemas.microsoft.com/office/drawing/2014/main" id="{F18017F1-DFA3-5309-EB08-6A9E10AE34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0161" cy="686217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4177"/>
            <a:ext cx="12203553" cy="6862177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2E0E154-6A25-2A4A-3E15-9C6348423C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7083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Let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opening a letter&#10;&#10;Description automatically generated">
            <a:extLst>
              <a:ext uri="{FF2B5EF4-FFF2-40B4-BE49-F238E27FC236}">
                <a16:creationId xmlns:a16="http://schemas.microsoft.com/office/drawing/2014/main" id="{FD803DEC-AE53-3DD8-25E4-14BC033CC1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6404FCE-67E0-37DA-59FC-590BE9BFFF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30063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C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person holding a trophy&#10;&#10;Description automatically generated">
            <a:extLst>
              <a:ext uri="{FF2B5EF4-FFF2-40B4-BE49-F238E27FC236}">
                <a16:creationId xmlns:a16="http://schemas.microsoft.com/office/drawing/2014/main" id="{98EA204B-B88F-774C-B8FC-1737FCFE63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62D625-6327-C60A-C457-754D161ACD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0341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treng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 descr="A child in a garment holding a barbell&#10;&#10;Description automatically generated">
            <a:extLst>
              <a:ext uri="{FF2B5EF4-FFF2-40B4-BE49-F238E27FC236}">
                <a16:creationId xmlns:a16="http://schemas.microsoft.com/office/drawing/2014/main" id="{8B2B9B5B-81FB-F17D-3E14-3636164713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8666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74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DBB20C6A-C347-EBF1-B98B-A8DF1551CF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BFF5E309-D550-02BD-695F-41FC1411329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5" name="Text Placeholder 37">
            <a:extLst>
              <a:ext uri="{FF2B5EF4-FFF2-40B4-BE49-F238E27FC236}">
                <a16:creationId xmlns:a16="http://schemas.microsoft.com/office/drawing/2014/main" id="{37474BBE-261E-CE92-2409-6CC0FC03F04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936383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Le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person jumping in the air&#10;&#10;Description automatically generated">
            <a:extLst>
              <a:ext uri="{FF2B5EF4-FFF2-40B4-BE49-F238E27FC236}">
                <a16:creationId xmlns:a16="http://schemas.microsoft.com/office/drawing/2014/main" id="{C7A8A9E9-53E7-CAF4-4CAC-31F63B2E93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4018" y="0"/>
            <a:ext cx="12196017" cy="685800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4018" y="0"/>
            <a:ext cx="12196017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62D625-6327-C60A-C457-754D161ACD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68344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Welco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group of women hugging in a doorway&#10;&#10;Description automatically generated">
            <a:extLst>
              <a:ext uri="{FF2B5EF4-FFF2-40B4-BE49-F238E27FC236}">
                <a16:creationId xmlns:a16="http://schemas.microsoft.com/office/drawing/2014/main" id="{44F0A615-6D8F-D83D-B4CF-11D559B3F9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1"/>
            <a:ext cx="12192001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191999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62D625-6327-C60A-C457-754D161ACD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08795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1BAD6FF-2C18-B6DE-7C43-6A3405FAC0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11E7AB0-5A82-805E-31C3-ACFDAB4A47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F0B18E9-00FF-1497-33D7-6BAFFE7A14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78479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No Im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7CEBDDC6-21E8-07E3-5F83-CCE0FC6C6FE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1BAD6FF-2C18-B6DE-7C43-6A3405FAC0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6C03CEC-3C11-D151-C389-E5C20874E4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20725AC2-C666-6A35-B249-2BA790DEA2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019173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Skatebo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person sitting on a skateboard with her arms outstretched&#10;&#10;Description automatically generated">
            <a:extLst>
              <a:ext uri="{FF2B5EF4-FFF2-40B4-BE49-F238E27FC236}">
                <a16:creationId xmlns:a16="http://schemas.microsoft.com/office/drawing/2014/main" id="{D39316BD-BF8E-85A5-A660-2012622487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207678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429832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close-up of a graph&#10;&#10;Description automatically generated">
            <a:extLst>
              <a:ext uri="{FF2B5EF4-FFF2-40B4-BE49-F238E27FC236}">
                <a16:creationId xmlns:a16="http://schemas.microsoft.com/office/drawing/2014/main" id="{B2C8C370-F749-841F-1670-8CF0F3341B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7678" cy="685799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5940"/>
            <a:ext cx="12207678" cy="686393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8115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Gro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group of people laughing while looking at a phone&#10;&#10;Description automatically generated">
            <a:extLst>
              <a:ext uri="{FF2B5EF4-FFF2-40B4-BE49-F238E27FC236}">
                <a16:creationId xmlns:a16="http://schemas.microsoft.com/office/drawing/2014/main" id="{5C084F28-5243-2540-6012-D6687E66AD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11520"/>
            <a:ext cx="12192000" cy="686951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200682" cy="686951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8124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Keybo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Picture 8" descr="A close-up of a keyboard&#10;&#10;Description automatically generated">
            <a:extLst>
              <a:ext uri="{FF2B5EF4-FFF2-40B4-BE49-F238E27FC236}">
                <a16:creationId xmlns:a16="http://schemas.microsoft.com/office/drawing/2014/main" id="{B16AC698-A3D4-7B74-453B-78192D0B61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7677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1" y="0"/>
            <a:ext cx="12207677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48632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53166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No Image,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B7E58F1E-BE42-005F-61DA-303AF0C938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D9567541-6B89-459A-8389-EA678A028EED}"/>
              </a:ext>
            </a:extLst>
          </p:cNvPr>
          <p:cNvSpPr/>
          <p:nvPr userDrawn="1"/>
        </p:nvSpPr>
        <p:spPr>
          <a:xfrm>
            <a:off x="106326" y="6609810"/>
            <a:ext cx="1493186" cy="1631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B8EA749-2134-FC2B-483D-5BE450CD3A22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5C53A91-1C2E-7549-551D-F64DA266ECFB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91F77CA-8475-8A83-5294-69CCAF54FD54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EC1E353-1A4A-567E-772B-1C8F3775DB4F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FD84219-E493-B6AB-9472-604A6059B963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137C3FA-4087-AD74-949D-725DD73C51FD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7FF4872E-9A1A-0972-CF8B-3C85AD9E64C0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E4DEB20A-F436-3145-CDBC-7DAD4055765D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DFC9E597-0002-1174-B578-B963D49FD974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628D924D-92B0-ED7F-50C5-E896DD6A81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C23DE9BE-169D-B8FD-00E2-97B3065632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0F0FB253-7CB9-CC74-6108-34DD2E0380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7209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Roc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person carrying a child on his shoulders&#10;&#10;Description automatically generated">
            <a:extLst>
              <a:ext uri="{FF2B5EF4-FFF2-40B4-BE49-F238E27FC236}">
                <a16:creationId xmlns:a16="http://schemas.microsoft.com/office/drawing/2014/main" id="{E11396B2-978D-E846-6727-E0680EDA7C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3793"/>
            <a:ext cx="12201228" cy="685799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5"/>
          <a:stretch/>
        </p:blipFill>
        <p:spPr>
          <a:xfrm>
            <a:off x="0" y="-3792"/>
            <a:ext cx="12215242" cy="686558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2D5759CB-E0F3-21AE-5869-DD3E0AC300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E6AA415C-1070-2553-E822-9B87D33512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91108AA1-0A1F-B944-AA04-34C1C2806A7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433457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Jo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person lying on the floor with her hand over her mouth&#10;&#10;Description automatically generated">
            <a:extLst>
              <a:ext uri="{FF2B5EF4-FFF2-40B4-BE49-F238E27FC236}">
                <a16:creationId xmlns:a16="http://schemas.microsoft.com/office/drawing/2014/main" id="{62B3D5CD-537F-93EF-2D7A-F5FE184E26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8683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8998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Selfi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couple of people taking a selfie&#10;&#10;Description automatically generated">
            <a:extLst>
              <a:ext uri="{FF2B5EF4-FFF2-40B4-BE49-F238E27FC236}">
                <a16:creationId xmlns:a16="http://schemas.microsoft.com/office/drawing/2014/main" id="{5F687EFD-9136-A143-2913-E317FDABBD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732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6732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497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Tre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child reaching out to touch a tree&#10;&#10;Description automatically generated">
            <a:extLst>
              <a:ext uri="{FF2B5EF4-FFF2-40B4-BE49-F238E27FC236}">
                <a16:creationId xmlns:a16="http://schemas.microsoft.com/office/drawing/2014/main" id="{74744EF0-BCC8-B882-9BA2-17FB6F1BA2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6732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51532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Typ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person typing on a computer&#10;&#10;Description automatically generated">
            <a:extLst>
              <a:ext uri="{FF2B5EF4-FFF2-40B4-BE49-F238E27FC236}">
                <a16:creationId xmlns:a16="http://schemas.microsoft.com/office/drawing/2014/main" id="{7F0C4A4A-49DC-834D-AC3F-A56C4F6DFC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017" y="0"/>
            <a:ext cx="12200766" cy="687325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4018" y="1"/>
            <a:ext cx="12200766" cy="687325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10195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6F284D-C198-8A4A-6135-E882F78B6B8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13C3B88-18EA-77F2-68A1-373076526B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D3BB1AE-05EB-FFE4-B958-9E536EE9EF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385E8B7-6F34-8B37-FBC0-FA5FA2BBE9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</p:spTree>
    <p:extLst>
      <p:ext uri="{BB962C8B-B14F-4D97-AF65-F5344CB8AC3E}">
        <p14:creationId xmlns:p14="http://schemas.microsoft.com/office/powerpoint/2010/main" val="182350911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No In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88680EE-E3CF-C6C2-CB48-58D3A2AED3EE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82C136E-16D2-0EF9-3E60-896BD8308D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F2FF778-7697-6DD7-DD59-A5CDAA0E19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AFABC617-4291-C37A-B122-59D4A21987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45210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45D803-1BF7-40EA-AC91-081933E6A3B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4141" y="1779739"/>
            <a:ext cx="5452876" cy="442313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1A7618-3887-4838-98CE-FDFA033A94BE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41B46AD-0363-49D0-9A55-12F4487A17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 slide, 2 columns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BC9C4766-C987-4787-8811-9BA501FABE5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79757" y="1779739"/>
            <a:ext cx="5452876" cy="442313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4C3C18F-C2F7-F6FB-2CA1-32B696DEE3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E34D61CE-B03E-894A-D61E-D31C888307D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19CB51C3-B144-48BC-390F-EC5617C2D7F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B011B905-DED4-9890-3913-569F0D294D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AFF65AB8-AD4B-F6C6-3699-181B7020A03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0867373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105655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8CB4004A-0774-9F68-17C4-398589D6E6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88BEAD9-9CB8-754F-DD5A-9E4036001B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1216614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, Leav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" name="Picture 3" descr="A close-up of a tree&#10;&#10;Description automatically generated">
            <a:extLst>
              <a:ext uri="{FF2B5EF4-FFF2-40B4-BE49-F238E27FC236}">
                <a16:creationId xmlns:a16="http://schemas.microsoft.com/office/drawing/2014/main" id="{EDD2A056-5B1B-049B-DA50-3D7FB69ED7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0C6CDD1-A880-79CA-B91B-6B58E13BE0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5B804615-3677-3B68-B831-34621A05F1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18F97505-45A9-0A8C-5236-18B49815FD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0835142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, Read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erson holding a stack of papers&#10;&#10;Description automatically generated">
            <a:extLst>
              <a:ext uri="{FF2B5EF4-FFF2-40B4-BE49-F238E27FC236}">
                <a16:creationId xmlns:a16="http://schemas.microsoft.com/office/drawing/2014/main" id="{55FCA34E-D4EB-0ACE-A525-765EC644E5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1" y="0"/>
            <a:ext cx="6096000" cy="685799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0C6CDD1-A880-79CA-B91B-6B58E13BE0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2616" y="110507"/>
            <a:ext cx="1836000" cy="2431842"/>
          </a:xfrm>
          <a:prstGeom prst="rect">
            <a:avLst/>
          </a:prstGeom>
        </p:spPr>
      </p:pic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22E8753F-B9AA-B56B-5C17-46F5CEBE9D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039CC3-B85A-CD5D-2940-0D9115B177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6856489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ou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row of colorful houses&#10;&#10;Description automatically generated">
            <a:extLst>
              <a:ext uri="{FF2B5EF4-FFF2-40B4-BE49-F238E27FC236}">
                <a16:creationId xmlns:a16="http://schemas.microsoft.com/office/drawing/2014/main" id="{8EC0BCA7-E2C9-A700-89E2-A057F988D9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4374"/>
            <a:ext cx="12192000" cy="685770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3"/>
          <a:stretch/>
        </p:blipFill>
        <p:spPr>
          <a:xfrm>
            <a:off x="0" y="0"/>
            <a:ext cx="12211770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BFD3053F-5558-BD67-AA8E-D2AF137FD6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82E6DDC2-744E-08E6-97D5-2B83035F8E9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B97EBEBA-92EF-4B0E-BEFA-41E77572C7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106358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3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74DB94D-4B52-907D-BB5E-4BC632606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3277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D6EEFA5-F76B-91AF-8EEB-9041F1C6CF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3097" y="6363979"/>
            <a:ext cx="4680000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1790923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, Read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74DB94D-4B52-907D-BB5E-4BC632606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3277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D6EEFA5-F76B-91AF-8EEB-9041F1C6CF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3097" y="6363979"/>
            <a:ext cx="4680000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0F10CF9-87BA-BE1D-2919-600FB43B63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984" y="1"/>
            <a:ext cx="6096003" cy="685934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87CC389-977C-B54D-2B2B-16085ACEDA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095" r="1"/>
          <a:stretch/>
        </p:blipFill>
        <p:spPr>
          <a:xfrm>
            <a:off x="7094" y="109908"/>
            <a:ext cx="1838585" cy="2432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9590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, Targe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target on a stand in a field&#10;&#10;Description automatically generated">
            <a:extLst>
              <a:ext uri="{FF2B5EF4-FFF2-40B4-BE49-F238E27FC236}">
                <a16:creationId xmlns:a16="http://schemas.microsoft.com/office/drawing/2014/main" id="{E09E114B-6E22-6D01-0E76-FBAAB2B725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3020" cy="6858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74DB94D-4B52-907D-BB5E-4BC632606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3277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D6EEFA5-F76B-91AF-8EEB-9041F1C6CF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3097" y="6363979"/>
            <a:ext cx="4680000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87CC389-977C-B54D-2B2B-16085ACEDA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095" r="1"/>
          <a:stretch/>
        </p:blipFill>
        <p:spPr>
          <a:xfrm>
            <a:off x="7094" y="109908"/>
            <a:ext cx="1838585" cy="2432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9736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9E337FF-EC20-FC4E-A512-80CDE51F4AC9}"/>
              </a:ext>
            </a:extLst>
          </p:cNvPr>
          <p:cNvSpPr/>
          <p:nvPr userDrawn="1"/>
        </p:nvSpPr>
        <p:spPr>
          <a:xfrm>
            <a:off x="1065230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3081F068-E853-4A4F-9EFD-B29B742822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49785" y="2016564"/>
            <a:ext cx="30090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6E092A17-E78C-9740-AB28-68C7E769D4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49785" y="3191398"/>
            <a:ext cx="3009014" cy="291169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3D576F0-DC67-4F7A-A308-E8A231AB271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C7D8C70-D8D3-4616-8AD6-B7531CA662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3 stages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8863C8E-9F0F-4046-A264-6A18A57D022C}"/>
              </a:ext>
            </a:extLst>
          </p:cNvPr>
          <p:cNvSpPr/>
          <p:nvPr userDrawn="1"/>
        </p:nvSpPr>
        <p:spPr>
          <a:xfrm>
            <a:off x="4500922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A3E954C-0710-40FA-98A2-EB54FBFAE9A0}"/>
              </a:ext>
            </a:extLst>
          </p:cNvPr>
          <p:cNvSpPr/>
          <p:nvPr userDrawn="1"/>
        </p:nvSpPr>
        <p:spPr>
          <a:xfrm>
            <a:off x="7936614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 Placeholder 35">
            <a:extLst>
              <a:ext uri="{FF2B5EF4-FFF2-40B4-BE49-F238E27FC236}">
                <a16:creationId xmlns:a16="http://schemas.microsoft.com/office/drawing/2014/main" id="{F763D85A-53EF-21E0-AE8D-8387C9A8676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021169" y="2016564"/>
            <a:ext cx="30090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" name="Text Placeholder 35">
            <a:extLst>
              <a:ext uri="{FF2B5EF4-FFF2-40B4-BE49-F238E27FC236}">
                <a16:creationId xmlns:a16="http://schemas.microsoft.com/office/drawing/2014/main" id="{B4BE02F9-0984-31D3-FB53-BAE64616F9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85477" y="2016564"/>
            <a:ext cx="30090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" name="Text Placeholder 40">
            <a:extLst>
              <a:ext uri="{FF2B5EF4-FFF2-40B4-BE49-F238E27FC236}">
                <a16:creationId xmlns:a16="http://schemas.microsoft.com/office/drawing/2014/main" id="{7205860A-8A37-A13F-D556-FEF702702A3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85477" y="3191398"/>
            <a:ext cx="3009014" cy="291169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7" name="Text Placeholder 40">
            <a:extLst>
              <a:ext uri="{FF2B5EF4-FFF2-40B4-BE49-F238E27FC236}">
                <a16:creationId xmlns:a16="http://schemas.microsoft.com/office/drawing/2014/main" id="{08E500C8-CDAC-8D97-2991-BE727CA62AF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21169" y="3191398"/>
            <a:ext cx="3009014" cy="291169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7A7D0FF3-0A47-41C5-12E1-5A525BD2722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64E14BF-8B23-28F5-583B-ECDEF02940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32CCA124-1025-BAA2-C889-03963E028A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10" name="Picture 9" descr="Marketreach Logo">
            <a:extLst>
              <a:ext uri="{FF2B5EF4-FFF2-40B4-BE49-F238E27FC236}">
                <a16:creationId xmlns:a16="http://schemas.microsoft.com/office/drawing/2014/main" id="{7636FC22-BE0F-8D27-97BB-85FC1C76CB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266B453-DF27-16A7-09CE-C1004E22EC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68756567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 53">
            <a:extLst>
              <a:ext uri="{FF2B5EF4-FFF2-40B4-BE49-F238E27FC236}">
                <a16:creationId xmlns:a16="http://schemas.microsoft.com/office/drawing/2014/main" id="{C5413A5D-B0DB-4840-A6F5-293DCA8C23D9}"/>
              </a:ext>
            </a:extLst>
          </p:cNvPr>
          <p:cNvSpPr/>
          <p:nvPr userDrawn="1"/>
        </p:nvSpPr>
        <p:spPr>
          <a:xfrm>
            <a:off x="479259" y="2002478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547ACD3-9D3A-184E-A273-6B9AD0E17160}"/>
              </a:ext>
            </a:extLst>
          </p:cNvPr>
          <p:cNvSpPr/>
          <p:nvPr userDrawn="1"/>
        </p:nvSpPr>
        <p:spPr>
          <a:xfrm>
            <a:off x="3361659" y="2002478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83B1937D-5E8B-4442-A129-2CC064F9A1E0}"/>
              </a:ext>
            </a:extLst>
          </p:cNvPr>
          <p:cNvSpPr/>
          <p:nvPr userDrawn="1"/>
        </p:nvSpPr>
        <p:spPr>
          <a:xfrm>
            <a:off x="6244059" y="2002478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A375A71-02A2-4AE6-9C69-5955E9F54FC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4D82E014-C022-4946-BD0C-5DFBBCBF63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4 stages</a:t>
            </a:r>
            <a:endParaRPr lang="en-GB" dirty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6DA0BE2C-2F41-C94A-99E2-9E9C8539EC62}"/>
              </a:ext>
            </a:extLst>
          </p:cNvPr>
          <p:cNvSpPr/>
          <p:nvPr userDrawn="1"/>
        </p:nvSpPr>
        <p:spPr>
          <a:xfrm>
            <a:off x="9133199" y="2002478"/>
            <a:ext cx="2572799" cy="399192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 Placeholder 35">
            <a:extLst>
              <a:ext uri="{FF2B5EF4-FFF2-40B4-BE49-F238E27FC236}">
                <a16:creationId xmlns:a16="http://schemas.microsoft.com/office/drawing/2014/main" id="{E3A1F728-6770-25C5-FFE3-6210F850318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630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" name="Text Placeholder 40">
            <a:extLst>
              <a:ext uri="{FF2B5EF4-FFF2-40B4-BE49-F238E27FC236}">
                <a16:creationId xmlns:a16="http://schemas.microsoft.com/office/drawing/2014/main" id="{17A79DCA-9E7C-15E0-0180-D999B7F86F0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2630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" name="Text Placeholder 35">
            <a:extLst>
              <a:ext uri="{FF2B5EF4-FFF2-40B4-BE49-F238E27FC236}">
                <a16:creationId xmlns:a16="http://schemas.microsoft.com/office/drawing/2014/main" id="{703FF1C4-9C5B-35BA-15F7-F494998BFEC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0870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" name="Text Placeholder 40">
            <a:extLst>
              <a:ext uri="{FF2B5EF4-FFF2-40B4-BE49-F238E27FC236}">
                <a16:creationId xmlns:a16="http://schemas.microsoft.com/office/drawing/2014/main" id="{189ED043-4BA4-C358-3565-37D485B1DA1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40870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" name="Text Placeholder 35">
            <a:extLst>
              <a:ext uri="{FF2B5EF4-FFF2-40B4-BE49-F238E27FC236}">
                <a16:creationId xmlns:a16="http://schemas.microsoft.com/office/drawing/2014/main" id="{4E3D54FB-EB18-FB2D-F9F6-5D64A2A4FB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9110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9" name="Text Placeholder 40">
            <a:extLst>
              <a:ext uri="{FF2B5EF4-FFF2-40B4-BE49-F238E27FC236}">
                <a16:creationId xmlns:a16="http://schemas.microsoft.com/office/drawing/2014/main" id="{6836EF55-6585-788F-B51D-48201A4CDFD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9110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0" name="Text Placeholder 35">
            <a:extLst>
              <a:ext uri="{FF2B5EF4-FFF2-40B4-BE49-F238E27FC236}">
                <a16:creationId xmlns:a16="http://schemas.microsoft.com/office/drawing/2014/main" id="{2968FC7C-6951-F5D0-B657-188AACFBB25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8024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01D857A3-4772-5303-7576-9C5BB1E17CB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18024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E7CF7048-8534-8655-8968-7260CFD020A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99368AE-7CC1-7071-A02A-9D2A09DA42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EF565088-9722-7082-D34D-6CCC9618651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13" name="Picture 12" descr="Marketreach Logo">
            <a:extLst>
              <a:ext uri="{FF2B5EF4-FFF2-40B4-BE49-F238E27FC236}">
                <a16:creationId xmlns:a16="http://schemas.microsoft.com/office/drawing/2014/main" id="{61FCDB74-1F0F-E14C-1182-7EC092E121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592A58E-3435-1CD1-C0DF-3188DB1370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166154236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E25AE843-60FB-62F0-9970-1DD05B32C229}"/>
              </a:ext>
            </a:extLst>
          </p:cNvPr>
          <p:cNvSpPr/>
          <p:nvPr userDrawn="1"/>
        </p:nvSpPr>
        <p:spPr>
          <a:xfrm>
            <a:off x="7384123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CFCBF6E-B065-D460-5D1A-A063B633337B}"/>
              </a:ext>
            </a:extLst>
          </p:cNvPr>
          <p:cNvSpPr/>
          <p:nvPr userDrawn="1"/>
        </p:nvSpPr>
        <p:spPr>
          <a:xfrm>
            <a:off x="5082502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6AF5689-365A-DB95-7C49-CB936A2FB276}"/>
              </a:ext>
            </a:extLst>
          </p:cNvPr>
          <p:cNvSpPr/>
          <p:nvPr userDrawn="1"/>
        </p:nvSpPr>
        <p:spPr>
          <a:xfrm>
            <a:off x="2780881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B9FDD73-9E09-7945-9A46-BD5E2414CC7A}"/>
              </a:ext>
            </a:extLst>
          </p:cNvPr>
          <p:cNvSpPr/>
          <p:nvPr userDrawn="1"/>
        </p:nvSpPr>
        <p:spPr>
          <a:xfrm>
            <a:off x="479260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5 stages</a:t>
            </a:r>
            <a:endParaRPr lang="en-GB" dirty="0"/>
          </a:p>
        </p:txBody>
      </p:sp>
      <p:sp>
        <p:nvSpPr>
          <p:cNvPr id="4" name="Text Placeholder 35">
            <a:extLst>
              <a:ext uri="{FF2B5EF4-FFF2-40B4-BE49-F238E27FC236}">
                <a16:creationId xmlns:a16="http://schemas.microsoft.com/office/drawing/2014/main" id="{E4C20D9F-9E8A-CE52-DAA1-C21A86946B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3687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10" name="Text Placeholder 40">
            <a:extLst>
              <a:ext uri="{FF2B5EF4-FFF2-40B4-BE49-F238E27FC236}">
                <a16:creationId xmlns:a16="http://schemas.microsoft.com/office/drawing/2014/main" id="{10C923C8-4C98-99B6-2BD5-1AA1D9213C0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3275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5" name="Slide Number Placeholder 1">
            <a:extLst>
              <a:ext uri="{FF2B5EF4-FFF2-40B4-BE49-F238E27FC236}">
                <a16:creationId xmlns:a16="http://schemas.microsoft.com/office/drawing/2014/main" id="{DB4929AC-1069-9091-0A28-CEA3495032D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6" name="Text Placeholder 35">
            <a:extLst>
              <a:ext uri="{FF2B5EF4-FFF2-40B4-BE49-F238E27FC236}">
                <a16:creationId xmlns:a16="http://schemas.microsoft.com/office/drawing/2014/main" id="{7319F27D-77A3-E732-0F54-9F323C99421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875308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7" name="Text Placeholder 40">
            <a:extLst>
              <a:ext uri="{FF2B5EF4-FFF2-40B4-BE49-F238E27FC236}">
                <a16:creationId xmlns:a16="http://schemas.microsoft.com/office/drawing/2014/main" id="{2D70C74C-30AC-ACA6-FF27-115C3B74C6B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74896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29" name="Text Placeholder 35">
            <a:extLst>
              <a:ext uri="{FF2B5EF4-FFF2-40B4-BE49-F238E27FC236}">
                <a16:creationId xmlns:a16="http://schemas.microsoft.com/office/drawing/2014/main" id="{9A3B4B7F-D035-24D0-CC35-7A92E69CCC0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76929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1" name="Text Placeholder 40">
            <a:extLst>
              <a:ext uri="{FF2B5EF4-FFF2-40B4-BE49-F238E27FC236}">
                <a16:creationId xmlns:a16="http://schemas.microsoft.com/office/drawing/2014/main" id="{170D1F95-8CB0-AF85-DBCB-572162A2FF5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176517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33" name="Text Placeholder 35">
            <a:extLst>
              <a:ext uri="{FF2B5EF4-FFF2-40B4-BE49-F238E27FC236}">
                <a16:creationId xmlns:a16="http://schemas.microsoft.com/office/drawing/2014/main" id="{3D550665-44CF-0CD7-8B93-8E205489E5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78550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4" name="Text Placeholder 40">
            <a:extLst>
              <a:ext uri="{FF2B5EF4-FFF2-40B4-BE49-F238E27FC236}">
                <a16:creationId xmlns:a16="http://schemas.microsoft.com/office/drawing/2014/main" id="{5B024C84-674A-9337-18A2-A2CCB47285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478138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495561E-FBD4-B309-8EAA-E1AFFAB8BF13}"/>
              </a:ext>
            </a:extLst>
          </p:cNvPr>
          <p:cNvSpPr/>
          <p:nvPr userDrawn="1"/>
        </p:nvSpPr>
        <p:spPr>
          <a:xfrm>
            <a:off x="9685744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0CD0E33C-E08A-51C3-6217-FDD13D92114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780171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8" name="Text Placeholder 40">
            <a:extLst>
              <a:ext uri="{FF2B5EF4-FFF2-40B4-BE49-F238E27FC236}">
                <a16:creationId xmlns:a16="http://schemas.microsoft.com/office/drawing/2014/main" id="{AAE66CD9-AEA5-0BBB-ADA5-D572D4CFE43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779759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85AA43C-B712-5DE7-9F4D-A102BC4F75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DB6229A1-DBE2-8415-655E-D443242C846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7" name="Picture 6" descr="Marketreach Logo">
            <a:extLst>
              <a:ext uri="{FF2B5EF4-FFF2-40B4-BE49-F238E27FC236}">
                <a16:creationId xmlns:a16="http://schemas.microsoft.com/office/drawing/2014/main" id="{60BBA52C-81E9-F167-6EA3-74D1FE6468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6546586-C17A-39B1-7B24-A86C4020318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44213003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6 stages</a:t>
            </a:r>
            <a:endParaRPr lang="en-GB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7A33D06-1EAE-4D42-BD90-9B587543E04E}"/>
              </a:ext>
            </a:extLst>
          </p:cNvPr>
          <p:cNvSpPr/>
          <p:nvPr userDrawn="1"/>
        </p:nvSpPr>
        <p:spPr>
          <a:xfrm>
            <a:off x="251813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443621B-4CB3-4E1A-A2AE-720BADB52B26}"/>
              </a:ext>
            </a:extLst>
          </p:cNvPr>
          <p:cNvSpPr/>
          <p:nvPr userDrawn="1"/>
        </p:nvSpPr>
        <p:spPr>
          <a:xfrm>
            <a:off x="2214514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F4F4918-3112-40A9-B65C-A32B1F402BF2}"/>
              </a:ext>
            </a:extLst>
          </p:cNvPr>
          <p:cNvSpPr/>
          <p:nvPr userDrawn="1"/>
        </p:nvSpPr>
        <p:spPr>
          <a:xfrm>
            <a:off x="419537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306A64D0-8B54-443B-8C2A-AC90A4B3C517}"/>
              </a:ext>
            </a:extLst>
          </p:cNvPr>
          <p:cNvSpPr/>
          <p:nvPr userDrawn="1"/>
        </p:nvSpPr>
        <p:spPr>
          <a:xfrm>
            <a:off x="614219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318F6E51-B6BE-439C-8449-84F6671EE3E7}"/>
              </a:ext>
            </a:extLst>
          </p:cNvPr>
          <p:cNvSpPr/>
          <p:nvPr userDrawn="1"/>
        </p:nvSpPr>
        <p:spPr>
          <a:xfrm>
            <a:off x="8132366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A8B57032-18CE-4064-AFE1-6A0302A02800}"/>
              </a:ext>
            </a:extLst>
          </p:cNvPr>
          <p:cNvSpPr/>
          <p:nvPr userDrawn="1"/>
        </p:nvSpPr>
        <p:spPr>
          <a:xfrm>
            <a:off x="1008405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ext Placeholder 35">
            <a:extLst>
              <a:ext uri="{FF2B5EF4-FFF2-40B4-BE49-F238E27FC236}">
                <a16:creationId xmlns:a16="http://schemas.microsoft.com/office/drawing/2014/main" id="{5BE3D4E0-F635-C149-A17F-2304E79EE2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9704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" name="Text Placeholder 35">
            <a:extLst>
              <a:ext uri="{FF2B5EF4-FFF2-40B4-BE49-F238E27FC236}">
                <a16:creationId xmlns:a16="http://schemas.microsoft.com/office/drawing/2014/main" id="{12E7AB89-E050-AB45-70A4-7350079DEB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42405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" name="Text Placeholder 35">
            <a:extLst>
              <a:ext uri="{FF2B5EF4-FFF2-40B4-BE49-F238E27FC236}">
                <a16:creationId xmlns:a16="http://schemas.microsoft.com/office/drawing/2014/main" id="{BDE9D3C7-DA6C-CB2B-A31E-1162875CF38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23268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" name="Text Placeholder 35">
            <a:extLst>
              <a:ext uri="{FF2B5EF4-FFF2-40B4-BE49-F238E27FC236}">
                <a16:creationId xmlns:a16="http://schemas.microsoft.com/office/drawing/2014/main" id="{4DD1A8DD-C95D-C873-10E6-8BACB1DE245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70088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8" name="Text Placeholder 35">
            <a:extLst>
              <a:ext uri="{FF2B5EF4-FFF2-40B4-BE49-F238E27FC236}">
                <a16:creationId xmlns:a16="http://schemas.microsoft.com/office/drawing/2014/main" id="{9D287025-6C27-2A5A-886B-67F944FE6C8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60257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9" name="Text Placeholder 35">
            <a:extLst>
              <a:ext uri="{FF2B5EF4-FFF2-40B4-BE49-F238E27FC236}">
                <a16:creationId xmlns:a16="http://schemas.microsoft.com/office/drawing/2014/main" id="{EFF10739-506D-A6CF-7243-3072D449455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111948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10" name="Text Placeholder 40">
            <a:extLst>
              <a:ext uri="{FF2B5EF4-FFF2-40B4-BE49-F238E27FC236}">
                <a16:creationId xmlns:a16="http://schemas.microsoft.com/office/drawing/2014/main" id="{FEAD0CE5-4212-D3C7-4EEA-8076F3576F6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79704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79896CF6-C3E9-4965-A941-FA50028A422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242405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2" name="Text Placeholder 40">
            <a:extLst>
              <a:ext uri="{FF2B5EF4-FFF2-40B4-BE49-F238E27FC236}">
                <a16:creationId xmlns:a16="http://schemas.microsoft.com/office/drawing/2014/main" id="{A034F26E-AE99-3D13-FCC7-95C1C08333F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223268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3" name="Text Placeholder 40">
            <a:extLst>
              <a:ext uri="{FF2B5EF4-FFF2-40B4-BE49-F238E27FC236}">
                <a16:creationId xmlns:a16="http://schemas.microsoft.com/office/drawing/2014/main" id="{92FE2AE8-747D-A937-B37D-9F2A24A2003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0111948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4" name="Text Placeholder 40">
            <a:extLst>
              <a:ext uri="{FF2B5EF4-FFF2-40B4-BE49-F238E27FC236}">
                <a16:creationId xmlns:a16="http://schemas.microsoft.com/office/drawing/2014/main" id="{51D497F9-F447-E929-216D-16AE3C70552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170088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5" name="Text Placeholder 40">
            <a:extLst>
              <a:ext uri="{FF2B5EF4-FFF2-40B4-BE49-F238E27FC236}">
                <a16:creationId xmlns:a16="http://schemas.microsoft.com/office/drawing/2014/main" id="{6F1E1C5D-AC2B-BD6F-3F65-9F2C5CA37BE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60257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6" name="Slide Number Placeholder 1">
            <a:extLst>
              <a:ext uri="{FF2B5EF4-FFF2-40B4-BE49-F238E27FC236}">
                <a16:creationId xmlns:a16="http://schemas.microsoft.com/office/drawing/2014/main" id="{F5DA396A-9BDF-D439-1B7B-16BF8C13F3D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1E8A76E-948C-6C1E-2189-551666265C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B9AC8F34-9119-3E31-091A-6D155A8DE8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17" name="Picture 16" descr="Marketreach Logo">
            <a:extLst>
              <a:ext uri="{FF2B5EF4-FFF2-40B4-BE49-F238E27FC236}">
                <a16:creationId xmlns:a16="http://schemas.microsoft.com/office/drawing/2014/main" id="{B353D1E5-8306-54FD-D5C5-B8FD004359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55A623B2-7182-664F-1BC6-23498A4516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0732859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68C3CF0-EDE0-41E7-90BE-6658867FA7F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738254" y="1800000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5F6F180-AB11-4527-B626-D97C6BF4248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4C29F6F-C163-420D-97CC-76412D34F2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table slid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253BFF7-466C-9386-C699-CC461BB8DA7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764629B-C2EB-6F28-33C7-67A1C9A53E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65253A54-D5B4-0C48-72BA-FA4D70929B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6" name="Picture 5" descr="Marketreach Logo">
            <a:extLst>
              <a:ext uri="{FF2B5EF4-FFF2-40B4-BE49-F238E27FC236}">
                <a16:creationId xmlns:a16="http://schemas.microsoft.com/office/drawing/2014/main" id="{862F90D6-F28B-BE2B-0B3F-EBD3CAB491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0585C5F5-F936-A1F4-2FF5-4CF3BBB7C5E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6439607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24544" y="1800000"/>
            <a:ext cx="11332027" cy="440852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94A7B83-05EC-4DDD-B5D8-A0AC5450300C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CB62F3-143F-445A-BBC5-D8A464DEEC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able only slid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7B059D6-441D-2DF1-1CD3-1E98463FC9C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2B5006B-188C-E170-3CF7-64B5609B44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2ECFECB7-01E5-F3A6-E473-6A4FF18BE77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78FD8D7C-A9C9-E743-3BD3-11BE8BD05A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831567-6A8B-343E-C4E4-A6958308FA5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55229246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738254" y="1800001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342EA0E-BFF4-499A-9126-032D30FD013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9BF0055-222A-4114-952B-55BC385436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chart slide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CF7DD14-DF26-4216-8376-F84F3656B57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4FE4D3D-A80C-0258-0753-C6B65762359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4715714-1369-0F44-AFAB-E36A12B4EF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FE586F96-B037-E747-9D35-E14B2BA6BC0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0BB0918F-C70C-88F9-2D8A-304F442F27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73918C7-3020-EFB5-D1A7-AFAAA992A26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6497781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arg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target on a stand in a field&#10;&#10;Description automatically generated">
            <a:extLst>
              <a:ext uri="{FF2B5EF4-FFF2-40B4-BE49-F238E27FC236}">
                <a16:creationId xmlns:a16="http://schemas.microsoft.com/office/drawing/2014/main" id="{AFB72DF0-8C1C-6D12-97CE-D1C44B62B9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20122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9"/>
          <a:stretch/>
        </p:blipFill>
        <p:spPr>
          <a:xfrm>
            <a:off x="0" y="1"/>
            <a:ext cx="12204905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FFBEC9BF-CAAE-523C-D5A1-74747D99DA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D45DC04-C55B-F160-9DD9-83196D6C16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43185B68-EE35-EA87-659D-2F4B3AC69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714288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24544" y="1790476"/>
            <a:ext cx="11332027" cy="445792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3A7FF20-1F5C-4182-891F-E10BC4628A9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B338666-5A7B-4746-ADDB-6279C03CD1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Chart only slid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BD051FE-B4A8-FE2E-4445-D20EBE6A1B9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D4F8266-C10C-12A4-F700-B908003D51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E086DD35-104F-D150-9FCC-4CCA92764C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3C3B98D2-3CEA-20DA-6BD6-6CE76BE28C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B379E67-0DBB-409F-F029-067B73879D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20851639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Win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sitting at a table&#10;&#10;Description automatically generated">
            <a:extLst>
              <a:ext uri="{FF2B5EF4-FFF2-40B4-BE49-F238E27FC236}">
                <a16:creationId xmlns:a16="http://schemas.microsoft.com/office/drawing/2014/main" id="{52133B59-F0C9-630F-F6F2-032A4E96CC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1229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757051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Streng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child in a garment holding a barbell&#10;&#10;Description automatically generated">
            <a:extLst>
              <a:ext uri="{FF2B5EF4-FFF2-40B4-BE49-F238E27FC236}">
                <a16:creationId xmlns:a16="http://schemas.microsoft.com/office/drawing/2014/main" id="{7B5A3DFB-7BC2-427B-DC10-B418279416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0232"/>
            <a:ext cx="12192000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0231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48582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Roc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carrying a child on his shoulders&#10;&#10;Description automatically generated">
            <a:extLst>
              <a:ext uri="{FF2B5EF4-FFF2-40B4-BE49-F238E27FC236}">
                <a16:creationId xmlns:a16="http://schemas.microsoft.com/office/drawing/2014/main" id="{4C7CA651-0BFF-1A25-3470-A7C4EF9757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1"/>
            <a:ext cx="12201228" cy="685799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948287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Hou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row of colorful houses&#10;&#10;Description automatically generated">
            <a:extLst>
              <a:ext uri="{FF2B5EF4-FFF2-40B4-BE49-F238E27FC236}">
                <a16:creationId xmlns:a16="http://schemas.microsoft.com/office/drawing/2014/main" id="{ECAB741E-1AA0-248F-7BDE-2EEAEE0A35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7207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1229" cy="687237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3202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Targ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target on a stand in a field&#10;&#10;Description automatically generated">
            <a:extLst>
              <a:ext uri="{FF2B5EF4-FFF2-40B4-BE49-F238E27FC236}">
                <a16:creationId xmlns:a16="http://schemas.microsoft.com/office/drawing/2014/main" id="{AC6732C3-A85A-F055-253F-1689333EA0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201229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05798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Tru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holding a person on a dock&#10;&#10;Description automatically generated">
            <a:extLst>
              <a:ext uri="{FF2B5EF4-FFF2-40B4-BE49-F238E27FC236}">
                <a16:creationId xmlns:a16="http://schemas.microsoft.com/office/drawing/2014/main" id="{DB419527-F9A8-FE7B-1DC6-06DE617447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1"/>
            <a:ext cx="12201229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644328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Jo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lying on the floor with her hand over her mouth&#10;&#10;Description automatically generated">
            <a:extLst>
              <a:ext uri="{FF2B5EF4-FFF2-40B4-BE49-F238E27FC236}">
                <a16:creationId xmlns:a16="http://schemas.microsoft.com/office/drawing/2014/main" id="{C1CF239E-047D-0A5B-2F78-C444F6BC07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1229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2340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87848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No Im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2">
            <a:extLst>
              <a:ext uri="{FF2B5EF4-FFF2-40B4-BE49-F238E27FC236}">
                <a16:creationId xmlns:a16="http://schemas.microsoft.com/office/drawing/2014/main" id="{1BA498EF-EBA8-1E15-FE29-BFDEB44F9D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9112533" cy="2719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D5D3934-1028-727A-7755-61AA75BDCCD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674A66A5-D4C7-23C6-249F-ADEB011604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211593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85896FC-F708-B183-B0BE-143B655730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7860" y="110507"/>
            <a:ext cx="2446146" cy="3240000"/>
          </a:xfrm>
          <a:prstGeom prst="rect">
            <a:avLst/>
          </a:prstGeom>
        </p:spPr>
      </p:pic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2C12ED2E-728A-3074-EA4F-1FAF01D7C9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1555"/>
            <a:ext cx="4547626" cy="1098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28037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i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person holding a person on a dock&#10;&#10;Description automatically generated">
            <a:extLst>
              <a:ext uri="{FF2B5EF4-FFF2-40B4-BE49-F238E27FC236}">
                <a16:creationId xmlns:a16="http://schemas.microsoft.com/office/drawing/2014/main" id="{6920D2D2-FAB5-C0B8-F289-8377447137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"/>
            <a:ext cx="1220122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"/>
          <a:stretch/>
        </p:blipFill>
        <p:spPr>
          <a:xfrm>
            <a:off x="0" y="1"/>
            <a:ext cx="12193142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F2DD7CE5-128B-B518-260A-50696ADDEC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FBE2290-B74C-734A-8F78-BF2465726DB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8515B60C-6B11-30CB-CD25-B8F654B8DB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51674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Jo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lying on the floor with her hand over her mouth&#10;&#10;Description automatically generated">
            <a:extLst>
              <a:ext uri="{FF2B5EF4-FFF2-40B4-BE49-F238E27FC236}">
                <a16:creationId xmlns:a16="http://schemas.microsoft.com/office/drawing/2014/main" id="{6E5657EB-1E1E-B9F8-DBD8-573BA0DC0E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122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"/>
          <a:stretch/>
        </p:blipFill>
        <p:spPr>
          <a:xfrm>
            <a:off x="0" y="0"/>
            <a:ext cx="12201229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C1A735EC-4AA8-D7C8-8E53-86C406F346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E205410-D11B-699E-4870-54E2F4F2EF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3" name="Text Placeholder 37">
            <a:extLst>
              <a:ext uri="{FF2B5EF4-FFF2-40B4-BE49-F238E27FC236}">
                <a16:creationId xmlns:a16="http://schemas.microsoft.com/office/drawing/2014/main" id="{58A447DB-D74B-0D2D-4DC2-BCA5C0048F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21674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C1A735EC-4AA8-D7C8-8E53-86C406F346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E205410-D11B-699E-4870-54E2F4F2EF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3" name="Text Placeholder 37">
            <a:extLst>
              <a:ext uri="{FF2B5EF4-FFF2-40B4-BE49-F238E27FC236}">
                <a16:creationId xmlns:a16="http://schemas.microsoft.com/office/drawing/2014/main" id="{58A447DB-D74B-0D2D-4DC2-BCA5C0048F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88476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Im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arketreach Logo">
            <a:extLst>
              <a:ext uri="{FF2B5EF4-FFF2-40B4-BE49-F238E27FC236}">
                <a16:creationId xmlns:a16="http://schemas.microsoft.com/office/drawing/2014/main" id="{EA5B83EF-A0A6-0C35-7B7D-C835B5FE2C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1555"/>
            <a:ext cx="4547626" cy="1098240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73B47A39-15AA-D99A-E34C-6912C929EF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9108000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8" name="Text Placeholder 37">
            <a:extLst>
              <a:ext uri="{FF2B5EF4-FFF2-40B4-BE49-F238E27FC236}">
                <a16:creationId xmlns:a16="http://schemas.microsoft.com/office/drawing/2014/main" id="{B8CEF0BD-B261-0D68-C825-949D99821F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9996" y="4286471"/>
            <a:ext cx="9108000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8C56868-4061-1519-6397-F3385E1626B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7031D8BB-28A5-A497-85EC-760AC34C42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2" y="2315120"/>
            <a:ext cx="91800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4632532-35CB-6571-9B56-4EC598B036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7860" y="110507"/>
            <a:ext cx="2446146" cy="32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7611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E1AB9D-4722-4847-9D17-393008E7BC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2100" y="6261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3337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774" r:id="rId2"/>
    <p:sldLayoutId id="2147483834" r:id="rId3"/>
    <p:sldLayoutId id="2147483835" r:id="rId4"/>
    <p:sldLayoutId id="2147483836" r:id="rId5"/>
    <p:sldLayoutId id="2147483837" r:id="rId6"/>
    <p:sldLayoutId id="2147483839" r:id="rId7"/>
    <p:sldLayoutId id="2147483858" r:id="rId8"/>
    <p:sldLayoutId id="2147483771" r:id="rId9"/>
    <p:sldLayoutId id="2147483824" r:id="rId10"/>
    <p:sldLayoutId id="2147483840" r:id="rId11"/>
    <p:sldLayoutId id="2147483809" r:id="rId12"/>
    <p:sldLayoutId id="2147483742" r:id="rId13"/>
    <p:sldLayoutId id="2147483798" r:id="rId14"/>
    <p:sldLayoutId id="2147483845" r:id="rId15"/>
    <p:sldLayoutId id="2147483846" r:id="rId16"/>
    <p:sldLayoutId id="2147483847" r:id="rId17"/>
    <p:sldLayoutId id="2147483848" r:id="rId18"/>
    <p:sldLayoutId id="2147483849" r:id="rId19"/>
    <p:sldLayoutId id="2147483865" r:id="rId20"/>
    <p:sldLayoutId id="2147483866" r:id="rId21"/>
    <p:sldLayoutId id="2147483821" r:id="rId22"/>
    <p:sldLayoutId id="2147483770" r:id="rId23"/>
    <p:sldLayoutId id="2147483860" r:id="rId24"/>
    <p:sldLayoutId id="2147483861" r:id="rId25"/>
    <p:sldLayoutId id="2147483862" r:id="rId26"/>
    <p:sldLayoutId id="2147483823" r:id="rId27"/>
    <p:sldLayoutId id="2147483863" r:id="rId28"/>
    <p:sldLayoutId id="2147483820" r:id="rId29"/>
    <p:sldLayoutId id="2147483842" r:id="rId30"/>
    <p:sldLayoutId id="2147483867" r:id="rId31"/>
    <p:sldLayoutId id="2147483843" r:id="rId32"/>
    <p:sldLayoutId id="2147483844" r:id="rId33"/>
    <p:sldLayoutId id="2147483817" r:id="rId34"/>
    <p:sldLayoutId id="2147483769" r:id="rId35"/>
    <p:sldLayoutId id="2147483724" r:id="rId36"/>
    <p:sldLayoutId id="2147483725" r:id="rId37"/>
    <p:sldLayoutId id="2147483825" r:id="rId38"/>
    <p:sldLayoutId id="2147483850" r:id="rId39"/>
    <p:sldLayoutId id="2147483726" r:id="rId40"/>
    <p:sldLayoutId id="2147483826" r:id="rId41"/>
    <p:sldLayoutId id="2147483851" r:id="rId42"/>
    <p:sldLayoutId id="2147483744" r:id="rId43"/>
    <p:sldLayoutId id="2147483745" r:id="rId44"/>
    <p:sldLayoutId id="2147483746" r:id="rId45"/>
    <p:sldLayoutId id="2147483768" r:id="rId46"/>
    <p:sldLayoutId id="2147483711" r:id="rId47"/>
    <p:sldLayoutId id="2147483712" r:id="rId48"/>
    <p:sldLayoutId id="2147483713" r:id="rId49"/>
    <p:sldLayoutId id="2147483714" r:id="rId50"/>
    <p:sldLayoutId id="2147483785" r:id="rId51"/>
    <p:sldLayoutId id="2147483852" r:id="rId52"/>
    <p:sldLayoutId id="2147483853" r:id="rId53"/>
    <p:sldLayoutId id="2147483854" r:id="rId54"/>
    <p:sldLayoutId id="2147483855" r:id="rId55"/>
    <p:sldLayoutId id="2147483856" r:id="rId56"/>
    <p:sldLayoutId id="2147483857" r:id="rId57"/>
    <p:sldLayoutId id="2147483864" r:id="rId58"/>
    <p:sldLayoutId id="2147483773" r:id="rId5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slideLayout" Target="../slideLayouts/slideLayout42.xml"/><Relationship Id="rId5" Type="http://schemas.openxmlformats.org/officeDocument/2006/relationships/tags" Target="../tags/tag17.xml"/><Relationship Id="rId4" Type="http://schemas.openxmlformats.org/officeDocument/2006/relationships/tags" Target="../tags/tag1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13" Type="http://schemas.openxmlformats.org/officeDocument/2006/relationships/image" Target="../media/image47.svg"/><Relationship Id="rId3" Type="http://schemas.openxmlformats.org/officeDocument/2006/relationships/tags" Target="../tags/tag20.xml"/><Relationship Id="rId7" Type="http://schemas.openxmlformats.org/officeDocument/2006/relationships/slideLayout" Target="../slideLayouts/slideLayout12.xml"/><Relationship Id="rId12" Type="http://schemas.openxmlformats.org/officeDocument/2006/relationships/image" Target="../media/image46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image" Target="../media/image45.svg"/><Relationship Id="rId5" Type="http://schemas.openxmlformats.org/officeDocument/2006/relationships/tags" Target="../tags/tag22.xml"/><Relationship Id="rId10" Type="http://schemas.openxmlformats.org/officeDocument/2006/relationships/image" Target="../media/image44.png"/><Relationship Id="rId4" Type="http://schemas.openxmlformats.org/officeDocument/2006/relationships/tags" Target="../tags/tag21.xml"/><Relationship Id="rId9" Type="http://schemas.openxmlformats.org/officeDocument/2006/relationships/image" Target="../media/image43.svg"/><Relationship Id="rId14" Type="http://schemas.openxmlformats.org/officeDocument/2006/relationships/hyperlink" Target="https://www.royalmailwholesale.com/testing-and-innovation" TargetMode="Externa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slideLayout" Target="../slideLayouts/slideLayout12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tags" Target="../tags/tag35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11" Type="http://schemas.openxmlformats.org/officeDocument/2006/relationships/tags" Target="../tags/tag34.xml"/><Relationship Id="rId5" Type="http://schemas.openxmlformats.org/officeDocument/2006/relationships/tags" Target="../tags/tag28.xml"/><Relationship Id="rId10" Type="http://schemas.openxmlformats.org/officeDocument/2006/relationships/tags" Target="../tags/tag33.xml"/><Relationship Id="rId4" Type="http://schemas.openxmlformats.org/officeDocument/2006/relationships/tags" Target="../tags/tag27.xml"/><Relationship Id="rId9" Type="http://schemas.openxmlformats.org/officeDocument/2006/relationships/tags" Target="../tags/tag32.xml"/><Relationship Id="rId14" Type="http://schemas.openxmlformats.org/officeDocument/2006/relationships/notesSlide" Target="../notesSlides/notesSlide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1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6" Type="http://schemas.openxmlformats.org/officeDocument/2006/relationships/hyperlink" Target="http://www.royalmailwholesale.com/" TargetMode="Externa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image" Target="../media/image41.svg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40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C1D005-C419-9846-4376-2FAF467B67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YAL MAIL SUMMER PROMOTIONS INCENTIV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B2B0D66-E547-28A6-4CDE-53D45E5D75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Introducing an incentive to trial new Summer promotions volum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B22D16E-62DD-D922-5131-62E8842B0C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April 2025</a:t>
            </a:r>
          </a:p>
        </p:txBody>
      </p:sp>
    </p:spTree>
    <p:extLst>
      <p:ext uri="{BB962C8B-B14F-4D97-AF65-F5344CB8AC3E}">
        <p14:creationId xmlns:p14="http://schemas.microsoft.com/office/powerpoint/2010/main" val="20345529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FDB366A-4D6B-D409-7506-F15E0F985E3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0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4E48BD8-0A56-0EB5-F371-34D35D536B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stage credits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E4987F5-376F-820A-98FE-D73402FE9DE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Full terms and conditions appl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9840B1-2B75-FAAD-E047-41CCDECEF9BC}"/>
              </a:ext>
            </a:extLst>
          </p:cNvPr>
          <p:cNvSpPr txBox="1"/>
          <p:nvPr/>
        </p:nvSpPr>
        <p:spPr>
          <a:xfrm>
            <a:off x="7651117" y="2760407"/>
            <a:ext cx="3820548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dirty="0"/>
              <a:t>Get up to 20% postage credit for up to 1m </a:t>
            </a:r>
            <a:r>
              <a:rPr lang="en-GB" sz="2800" dirty="0"/>
              <a:t>incremental advertising mail item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1415283-7EB2-EEE7-9B24-464A91B073CF}"/>
              </a:ext>
            </a:extLst>
          </p:cNvPr>
          <p:cNvSpPr txBox="1"/>
          <p:nvPr/>
        </p:nvSpPr>
        <p:spPr>
          <a:xfrm>
            <a:off x="6593572" y="1640726"/>
            <a:ext cx="1619354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6600" b="1" dirty="0">
                <a:solidFill>
                  <a:schemeClr val="accent1"/>
                </a:solidFill>
                <a:latin typeface="+mj-lt"/>
              </a:rPr>
              <a:t>20</a:t>
            </a:r>
            <a:r>
              <a:rPr lang="en-GB" sz="4400" b="1" dirty="0">
                <a:latin typeface="+mj-lt"/>
              </a:rPr>
              <a:t>%</a:t>
            </a:r>
            <a:endParaRPr lang="en-GB" sz="6600" b="1" dirty="0">
              <a:latin typeface="+mj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4737A41-3FAF-7988-E213-D98BB4490F2A}"/>
              </a:ext>
            </a:extLst>
          </p:cNvPr>
          <p:cNvGrpSpPr/>
          <p:nvPr/>
        </p:nvGrpSpPr>
        <p:grpSpPr>
          <a:xfrm>
            <a:off x="6616320" y="2696836"/>
            <a:ext cx="1004329" cy="1005431"/>
            <a:chOff x="6711028" y="4025932"/>
            <a:chExt cx="761165" cy="762000"/>
          </a:xfrm>
        </p:grpSpPr>
        <p:sp>
          <p:nvSpPr>
            <p:cNvPr id="9" name="Discount">
              <a:extLst>
                <a:ext uri="{FF2B5EF4-FFF2-40B4-BE49-F238E27FC236}">
                  <a16:creationId xmlns:a16="http://schemas.microsoft.com/office/drawing/2014/main" id="{F1AC10D4-F743-BC27-661F-48E0B1AACDDA}"/>
                </a:ext>
              </a:extLst>
            </p:cNvPr>
            <p:cNvSpPr>
              <a:spLocks noChangeAspect="1"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6711028" y="4025932"/>
              <a:ext cx="761165" cy="762000"/>
            </a:xfrm>
            <a:custGeom>
              <a:avLst/>
              <a:gdLst>
                <a:gd name="T0" fmla="*/ 188 w 197"/>
                <a:gd name="T1" fmla="*/ 0 h 197"/>
                <a:gd name="T2" fmla="*/ 113 w 197"/>
                <a:gd name="T3" fmla="*/ 0 h 197"/>
                <a:gd name="T4" fmla="*/ 97 w 197"/>
                <a:gd name="T5" fmla="*/ 7 h 197"/>
                <a:gd name="T6" fmla="*/ 4 w 197"/>
                <a:gd name="T7" fmla="*/ 100 h 197"/>
                <a:gd name="T8" fmla="*/ 4 w 197"/>
                <a:gd name="T9" fmla="*/ 113 h 197"/>
                <a:gd name="T10" fmla="*/ 84 w 197"/>
                <a:gd name="T11" fmla="*/ 193 h 197"/>
                <a:gd name="T12" fmla="*/ 97 w 197"/>
                <a:gd name="T13" fmla="*/ 193 h 197"/>
                <a:gd name="T14" fmla="*/ 190 w 197"/>
                <a:gd name="T15" fmla="*/ 100 h 197"/>
                <a:gd name="T16" fmla="*/ 197 w 197"/>
                <a:gd name="T17" fmla="*/ 84 h 197"/>
                <a:gd name="T18" fmla="*/ 197 w 197"/>
                <a:gd name="T19" fmla="*/ 9 h 197"/>
                <a:gd name="T20" fmla="*/ 188 w 197"/>
                <a:gd name="T21" fmla="*/ 0 h 197"/>
                <a:gd name="T22" fmla="*/ 141 w 197"/>
                <a:gd name="T23" fmla="*/ 75 h 197"/>
                <a:gd name="T24" fmla="*/ 122 w 197"/>
                <a:gd name="T25" fmla="*/ 56 h 197"/>
                <a:gd name="T26" fmla="*/ 141 w 197"/>
                <a:gd name="T27" fmla="*/ 38 h 197"/>
                <a:gd name="T28" fmla="*/ 160 w 197"/>
                <a:gd name="T29" fmla="*/ 56 h 197"/>
                <a:gd name="T30" fmla="*/ 141 w 197"/>
                <a:gd name="T31" fmla="*/ 75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7" h="197">
                  <a:moveTo>
                    <a:pt x="188" y="0"/>
                  </a:moveTo>
                  <a:lnTo>
                    <a:pt x="113" y="0"/>
                  </a:lnTo>
                  <a:cubicBezTo>
                    <a:pt x="107" y="0"/>
                    <a:pt x="100" y="3"/>
                    <a:pt x="97" y="7"/>
                  </a:cubicBezTo>
                  <a:lnTo>
                    <a:pt x="4" y="100"/>
                  </a:lnTo>
                  <a:cubicBezTo>
                    <a:pt x="0" y="103"/>
                    <a:pt x="0" y="109"/>
                    <a:pt x="4" y="113"/>
                  </a:cubicBezTo>
                  <a:lnTo>
                    <a:pt x="84" y="193"/>
                  </a:lnTo>
                  <a:cubicBezTo>
                    <a:pt x="88" y="197"/>
                    <a:pt x="94" y="197"/>
                    <a:pt x="97" y="193"/>
                  </a:cubicBezTo>
                  <a:lnTo>
                    <a:pt x="190" y="100"/>
                  </a:lnTo>
                  <a:cubicBezTo>
                    <a:pt x="194" y="97"/>
                    <a:pt x="197" y="90"/>
                    <a:pt x="197" y="84"/>
                  </a:cubicBezTo>
                  <a:lnTo>
                    <a:pt x="197" y="9"/>
                  </a:lnTo>
                  <a:cubicBezTo>
                    <a:pt x="197" y="4"/>
                    <a:pt x="193" y="0"/>
                    <a:pt x="188" y="0"/>
                  </a:cubicBezTo>
                  <a:close/>
                  <a:moveTo>
                    <a:pt x="141" y="75"/>
                  </a:moveTo>
                  <a:cubicBezTo>
                    <a:pt x="130" y="75"/>
                    <a:pt x="122" y="67"/>
                    <a:pt x="122" y="56"/>
                  </a:cubicBezTo>
                  <a:cubicBezTo>
                    <a:pt x="122" y="46"/>
                    <a:pt x="130" y="38"/>
                    <a:pt x="141" y="38"/>
                  </a:cubicBezTo>
                  <a:cubicBezTo>
                    <a:pt x="151" y="38"/>
                    <a:pt x="160" y="46"/>
                    <a:pt x="160" y="56"/>
                  </a:cubicBezTo>
                  <a:cubicBezTo>
                    <a:pt x="160" y="67"/>
                    <a:pt x="151" y="75"/>
                    <a:pt x="141" y="75"/>
                  </a:cubicBezTo>
                  <a:close/>
                </a:path>
              </a:pathLst>
            </a:custGeom>
            <a:noFill/>
            <a:ln w="381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0" name="Percent">
              <a:extLst>
                <a:ext uri="{FF2B5EF4-FFF2-40B4-BE49-F238E27FC236}">
                  <a16:creationId xmlns:a16="http://schemas.microsoft.com/office/drawing/2014/main" id="{195F1E20-9E88-277C-E110-725DD899C46B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 bwMode="auto">
            <a:xfrm>
              <a:off x="6932801" y="4321306"/>
              <a:ext cx="220807" cy="249670"/>
              <a:chOff x="171" y="161"/>
              <a:chExt cx="153" cy="173"/>
            </a:xfrm>
            <a:noFill/>
          </p:grpSpPr>
          <p:sp>
            <p:nvSpPr>
              <p:cNvPr id="11" name="Percent">
                <a:extLst>
                  <a:ext uri="{FF2B5EF4-FFF2-40B4-BE49-F238E27FC236}">
                    <a16:creationId xmlns:a16="http://schemas.microsoft.com/office/drawing/2014/main" id="{CBF1B916-BE1A-2676-D4C7-B4B95FACB163}"/>
                  </a:ext>
                </a:extLst>
              </p:cNvPr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187" y="161"/>
                <a:ext cx="121" cy="173"/>
              </a:xfrm>
              <a:custGeom>
                <a:avLst/>
                <a:gdLst>
                  <a:gd name="T0" fmla="*/ 853 w 889"/>
                  <a:gd name="T1" fmla="*/ 19 h 1272"/>
                  <a:gd name="T2" fmla="*/ 767 w 889"/>
                  <a:gd name="T3" fmla="*/ 37 h 1272"/>
                  <a:gd name="T4" fmla="*/ 19 w 889"/>
                  <a:gd name="T5" fmla="*/ 1177 h 1272"/>
                  <a:gd name="T6" fmla="*/ 36 w 889"/>
                  <a:gd name="T7" fmla="*/ 1262 h 1272"/>
                  <a:gd name="T8" fmla="*/ 71 w 889"/>
                  <a:gd name="T9" fmla="*/ 1272 h 1272"/>
                  <a:gd name="T10" fmla="*/ 122 w 889"/>
                  <a:gd name="T11" fmla="*/ 1244 h 1272"/>
                  <a:gd name="T12" fmla="*/ 870 w 889"/>
                  <a:gd name="T13" fmla="*/ 105 h 1272"/>
                  <a:gd name="T14" fmla="*/ 853 w 889"/>
                  <a:gd name="T15" fmla="*/ 19 h 1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89" h="1272">
                    <a:moveTo>
                      <a:pt x="853" y="19"/>
                    </a:moveTo>
                    <a:cubicBezTo>
                      <a:pt x="824" y="0"/>
                      <a:pt x="786" y="8"/>
                      <a:pt x="767" y="37"/>
                    </a:cubicBezTo>
                    <a:lnTo>
                      <a:pt x="19" y="1177"/>
                    </a:lnTo>
                    <a:cubicBezTo>
                      <a:pt x="0" y="1205"/>
                      <a:pt x="8" y="1243"/>
                      <a:pt x="36" y="1262"/>
                    </a:cubicBezTo>
                    <a:cubicBezTo>
                      <a:pt x="47" y="1269"/>
                      <a:pt x="59" y="1272"/>
                      <a:pt x="71" y="1272"/>
                    </a:cubicBezTo>
                    <a:cubicBezTo>
                      <a:pt x="91" y="1272"/>
                      <a:pt x="110" y="1263"/>
                      <a:pt x="122" y="1244"/>
                    </a:cubicBezTo>
                    <a:lnTo>
                      <a:pt x="870" y="105"/>
                    </a:lnTo>
                    <a:cubicBezTo>
                      <a:pt x="889" y="76"/>
                      <a:pt x="881" y="38"/>
                      <a:pt x="853" y="19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" name="Percent">
                <a:extLst>
                  <a:ext uri="{FF2B5EF4-FFF2-40B4-BE49-F238E27FC236}">
                    <a16:creationId xmlns:a16="http://schemas.microsoft.com/office/drawing/2014/main" id="{D20CBC5B-3E28-76F4-8974-2179FF4D6EB0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171" y="184"/>
                <a:ext cx="54" cy="54"/>
              </a:xfrm>
              <a:prstGeom prst="ellipse">
                <a:avLst/>
              </a:prstGeom>
              <a:grpFill/>
              <a:ln w="38100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" name="Percent">
                <a:extLst>
                  <a:ext uri="{FF2B5EF4-FFF2-40B4-BE49-F238E27FC236}">
                    <a16:creationId xmlns:a16="http://schemas.microsoft.com/office/drawing/2014/main" id="{4BB73BF7-AD67-F42F-CC66-0DF1EB67F180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270" y="258"/>
                <a:ext cx="54" cy="55"/>
              </a:xfrm>
              <a:prstGeom prst="ellipse">
                <a:avLst/>
              </a:prstGeom>
              <a:grpFill/>
              <a:ln w="38100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558362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6F4CDD-8B55-F0A4-D2FA-2BFFF8E929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APPLICATION AND CREDIT proces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C89AD00-3452-12CE-DC1F-EAA43123F8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Offer open for postings mailed by 01 August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0E62A9-A6FC-9A86-71AD-978D1B92DC1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1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C8071C5-54E5-7CA8-0248-F577EFA396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Full terms and conditions apply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54D7529-DF39-24CF-54FF-A94DBC0E8E74}"/>
              </a:ext>
            </a:extLst>
          </p:cNvPr>
          <p:cNvSpPr>
            <a:spLocks noChangeAspect="1"/>
          </p:cNvSpPr>
          <p:nvPr/>
        </p:nvSpPr>
        <p:spPr>
          <a:xfrm>
            <a:off x="8617167" y="2197134"/>
            <a:ext cx="624548" cy="624548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08BE03A-1D17-0A82-029A-A1832C7F8CC9}"/>
              </a:ext>
            </a:extLst>
          </p:cNvPr>
          <p:cNvSpPr>
            <a:spLocks noChangeAspect="1"/>
          </p:cNvSpPr>
          <p:nvPr/>
        </p:nvSpPr>
        <p:spPr>
          <a:xfrm>
            <a:off x="1216085" y="2122302"/>
            <a:ext cx="624548" cy="624548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Block Arc 8">
            <a:extLst>
              <a:ext uri="{FF2B5EF4-FFF2-40B4-BE49-F238E27FC236}">
                <a16:creationId xmlns:a16="http://schemas.microsoft.com/office/drawing/2014/main" id="{9A62ADB0-AEEF-FDE7-9553-F91D2B4725FC}"/>
              </a:ext>
            </a:extLst>
          </p:cNvPr>
          <p:cNvSpPr>
            <a:spLocks noChangeAspect="1"/>
          </p:cNvSpPr>
          <p:nvPr/>
        </p:nvSpPr>
        <p:spPr>
          <a:xfrm>
            <a:off x="414224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Block Arc 9">
            <a:extLst>
              <a:ext uri="{FF2B5EF4-FFF2-40B4-BE49-F238E27FC236}">
                <a16:creationId xmlns:a16="http://schemas.microsoft.com/office/drawing/2014/main" id="{4348843F-5ED8-6E42-39BC-25BCB06513E8}"/>
              </a:ext>
            </a:extLst>
          </p:cNvPr>
          <p:cNvSpPr>
            <a:spLocks noChangeAspect="1"/>
          </p:cNvSpPr>
          <p:nvPr/>
        </p:nvSpPr>
        <p:spPr>
          <a:xfrm flipV="1">
            <a:off x="2266140" y="3517759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Block Arc 10">
            <a:extLst>
              <a:ext uri="{FF2B5EF4-FFF2-40B4-BE49-F238E27FC236}">
                <a16:creationId xmlns:a16="http://schemas.microsoft.com/office/drawing/2014/main" id="{921900D6-2826-D88B-FC7F-82710A9B0A9E}"/>
              </a:ext>
            </a:extLst>
          </p:cNvPr>
          <p:cNvSpPr>
            <a:spLocks noChangeAspect="1"/>
          </p:cNvSpPr>
          <p:nvPr/>
        </p:nvSpPr>
        <p:spPr>
          <a:xfrm>
            <a:off x="4120020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Block Arc 11">
            <a:extLst>
              <a:ext uri="{FF2B5EF4-FFF2-40B4-BE49-F238E27FC236}">
                <a16:creationId xmlns:a16="http://schemas.microsoft.com/office/drawing/2014/main" id="{77FC33E1-99BA-ABFD-54A3-DBF7F5C1755E}"/>
              </a:ext>
            </a:extLst>
          </p:cNvPr>
          <p:cNvSpPr>
            <a:spLocks noChangeAspect="1"/>
          </p:cNvSpPr>
          <p:nvPr/>
        </p:nvSpPr>
        <p:spPr>
          <a:xfrm flipV="1">
            <a:off x="5977077" y="3512996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Block Arc 12">
            <a:extLst>
              <a:ext uri="{FF2B5EF4-FFF2-40B4-BE49-F238E27FC236}">
                <a16:creationId xmlns:a16="http://schemas.microsoft.com/office/drawing/2014/main" id="{4F96552D-24B0-9F65-0B0C-0305CA008D30}"/>
              </a:ext>
            </a:extLst>
          </p:cNvPr>
          <p:cNvSpPr>
            <a:spLocks noChangeAspect="1"/>
          </p:cNvSpPr>
          <p:nvPr/>
        </p:nvSpPr>
        <p:spPr>
          <a:xfrm>
            <a:off x="7836324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9B7BA27-A5F4-B03D-87DD-8728F048BB90}"/>
              </a:ext>
            </a:extLst>
          </p:cNvPr>
          <p:cNvSpPr>
            <a:spLocks noChangeAspect="1"/>
          </p:cNvSpPr>
          <p:nvPr/>
        </p:nvSpPr>
        <p:spPr>
          <a:xfrm>
            <a:off x="3016429" y="5366323"/>
            <a:ext cx="624548" cy="6245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8453148-466B-E675-4738-4CBC3556FFE4}"/>
              </a:ext>
            </a:extLst>
          </p:cNvPr>
          <p:cNvSpPr>
            <a:spLocks noChangeAspect="1"/>
          </p:cNvSpPr>
          <p:nvPr/>
        </p:nvSpPr>
        <p:spPr>
          <a:xfrm>
            <a:off x="4890351" y="2164342"/>
            <a:ext cx="624548" cy="62454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678A4320-BD04-6EC6-8FDC-7A66DD81C13F}"/>
              </a:ext>
            </a:extLst>
          </p:cNvPr>
          <p:cNvSpPr>
            <a:spLocks noChangeAspect="1"/>
          </p:cNvSpPr>
          <p:nvPr/>
        </p:nvSpPr>
        <p:spPr>
          <a:xfrm>
            <a:off x="6816324" y="5326321"/>
            <a:ext cx="624548" cy="6245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per_plan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86BBEFF-A48F-D73E-5CEE-298CBEE42CD8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5011448" y="2286098"/>
            <a:ext cx="421847" cy="370825"/>
          </a:xfrm>
          <a:custGeom>
            <a:avLst/>
            <a:gdLst>
              <a:gd name="T0" fmla="*/ 29 w 1232"/>
              <a:gd name="T1" fmla="*/ 8 h 1080"/>
              <a:gd name="T2" fmla="*/ 4 w 1232"/>
              <a:gd name="T3" fmla="*/ 29 h 1080"/>
              <a:gd name="T4" fmla="*/ 234 w 1232"/>
              <a:gd name="T5" fmla="*/ 1055 h 1080"/>
              <a:gd name="T6" fmla="*/ 271 w 1232"/>
              <a:gd name="T7" fmla="*/ 1069 h 1080"/>
              <a:gd name="T8" fmla="*/ 541 w 1232"/>
              <a:gd name="T9" fmla="*/ 880 h 1080"/>
              <a:gd name="T10" fmla="*/ 590 w 1232"/>
              <a:gd name="T11" fmla="*/ 889 h 1080"/>
              <a:gd name="T12" fmla="*/ 679 w 1232"/>
              <a:gd name="T13" fmla="*/ 1020 h 1080"/>
              <a:gd name="T14" fmla="*/ 711 w 1232"/>
              <a:gd name="T15" fmla="*/ 1016 h 1080"/>
              <a:gd name="T16" fmla="*/ 820 w 1232"/>
              <a:gd name="T17" fmla="*/ 722 h 1080"/>
              <a:gd name="T18" fmla="*/ 810 w 1232"/>
              <a:gd name="T19" fmla="*/ 717 h 1080"/>
              <a:gd name="T20" fmla="*/ 771 w 1232"/>
              <a:gd name="T21" fmla="*/ 765 h 1080"/>
              <a:gd name="T22" fmla="*/ 713 w 1232"/>
              <a:gd name="T23" fmla="*/ 794 h 1080"/>
              <a:gd name="T24" fmla="*/ 699 w 1232"/>
              <a:gd name="T25" fmla="*/ 794 h 1080"/>
              <a:gd name="T26" fmla="*/ 641 w 1232"/>
              <a:gd name="T27" fmla="*/ 767 h 1080"/>
              <a:gd name="T28" fmla="*/ 201 w 1232"/>
              <a:gd name="T29" fmla="*/ 211 h 1080"/>
              <a:gd name="T30" fmla="*/ 207 w 1232"/>
              <a:gd name="T31" fmla="*/ 205 h 1080"/>
              <a:gd name="T32" fmla="*/ 804 w 1232"/>
              <a:gd name="T33" fmla="*/ 667 h 1080"/>
              <a:gd name="T34" fmla="*/ 865 w 1232"/>
              <a:gd name="T35" fmla="*/ 677 h 1080"/>
              <a:gd name="T36" fmla="*/ 1213 w 1232"/>
              <a:gd name="T37" fmla="*/ 554 h 1080"/>
              <a:gd name="T38" fmla="*/ 1214 w 1232"/>
              <a:gd name="T39" fmla="*/ 527 h 1080"/>
              <a:gd name="T40" fmla="*/ 29 w 1232"/>
              <a:gd name="T41" fmla="*/ 8 h 1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232" h="1080">
                <a:moveTo>
                  <a:pt x="29" y="8"/>
                </a:moveTo>
                <a:cubicBezTo>
                  <a:pt x="11" y="0"/>
                  <a:pt x="0" y="10"/>
                  <a:pt x="4" y="29"/>
                </a:cubicBezTo>
                <a:lnTo>
                  <a:pt x="234" y="1055"/>
                </a:lnTo>
                <a:cubicBezTo>
                  <a:pt x="239" y="1074"/>
                  <a:pt x="255" y="1080"/>
                  <a:pt x="271" y="1069"/>
                </a:cubicBezTo>
                <a:lnTo>
                  <a:pt x="541" y="880"/>
                </a:lnTo>
                <a:cubicBezTo>
                  <a:pt x="557" y="869"/>
                  <a:pt x="579" y="873"/>
                  <a:pt x="590" y="889"/>
                </a:cubicBezTo>
                <a:lnTo>
                  <a:pt x="679" y="1020"/>
                </a:lnTo>
                <a:cubicBezTo>
                  <a:pt x="689" y="1036"/>
                  <a:pt x="704" y="1035"/>
                  <a:pt x="711" y="1016"/>
                </a:cubicBezTo>
                <a:lnTo>
                  <a:pt x="820" y="722"/>
                </a:lnTo>
                <a:cubicBezTo>
                  <a:pt x="826" y="704"/>
                  <a:pt x="822" y="702"/>
                  <a:pt x="810" y="717"/>
                </a:cubicBezTo>
                <a:lnTo>
                  <a:pt x="771" y="765"/>
                </a:lnTo>
                <a:cubicBezTo>
                  <a:pt x="758" y="780"/>
                  <a:pt x="732" y="793"/>
                  <a:pt x="713" y="794"/>
                </a:cubicBezTo>
                <a:lnTo>
                  <a:pt x="699" y="794"/>
                </a:lnTo>
                <a:cubicBezTo>
                  <a:pt x="679" y="794"/>
                  <a:pt x="653" y="782"/>
                  <a:pt x="641" y="767"/>
                </a:cubicBezTo>
                <a:lnTo>
                  <a:pt x="201" y="211"/>
                </a:lnTo>
                <a:cubicBezTo>
                  <a:pt x="189" y="196"/>
                  <a:pt x="191" y="193"/>
                  <a:pt x="207" y="205"/>
                </a:cubicBezTo>
                <a:lnTo>
                  <a:pt x="804" y="667"/>
                </a:lnTo>
                <a:cubicBezTo>
                  <a:pt x="819" y="679"/>
                  <a:pt x="847" y="684"/>
                  <a:pt x="865" y="677"/>
                </a:cubicBezTo>
                <a:lnTo>
                  <a:pt x="1213" y="554"/>
                </a:lnTo>
                <a:cubicBezTo>
                  <a:pt x="1231" y="547"/>
                  <a:pt x="1232" y="535"/>
                  <a:pt x="1214" y="527"/>
                </a:cubicBezTo>
                <a:lnTo>
                  <a:pt x="29" y="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8" name="Plan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D583C147-C6AC-81A4-E598-06E7FCA781E8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7999164" y="5786751"/>
            <a:ext cx="383028" cy="9691"/>
            <a:chOff x="2478" y="2188"/>
            <a:chExt cx="2648" cy="67"/>
          </a:xfrm>
          <a:solidFill>
            <a:schemeClr val="accent3"/>
          </a:solidFill>
        </p:grpSpPr>
        <p:sp>
          <p:nvSpPr>
            <p:cNvPr id="19" name="Freeform 487">
              <a:extLst>
                <a:ext uri="{FF2B5EF4-FFF2-40B4-BE49-F238E27FC236}">
                  <a16:creationId xmlns:a16="http://schemas.microsoft.com/office/drawing/2014/main" id="{A56CF35B-558D-2911-8326-5D4BA747AB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2188"/>
              <a:ext cx="0" cy="31"/>
            </a:xfrm>
            <a:custGeom>
              <a:avLst/>
              <a:gdLst>
                <a:gd name="T0" fmla="*/ 0 h 8"/>
                <a:gd name="T1" fmla="*/ 8 h 8"/>
                <a:gd name="T2" fmla="*/ 6 h 8"/>
                <a:gd name="T3" fmla="*/ 0 h 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8">
                  <a:moveTo>
                    <a:pt x="0" y="0"/>
                  </a:moveTo>
                  <a:lnTo>
                    <a:pt x="0" y="8"/>
                  </a:lnTo>
                  <a:cubicBezTo>
                    <a:pt x="0" y="7"/>
                    <a:pt x="0" y="7"/>
                    <a:pt x="0" y="6"/>
                  </a:cubicBezTo>
                  <a:cubicBezTo>
                    <a:pt x="0" y="4"/>
                    <a:pt x="0" y="2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490">
              <a:extLst>
                <a:ext uri="{FF2B5EF4-FFF2-40B4-BE49-F238E27FC236}">
                  <a16:creationId xmlns:a16="http://schemas.microsoft.com/office/drawing/2014/main" id="{08964823-FE7D-71BF-DF35-C2CB5B7110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2" y="2211"/>
              <a:ext cx="4" cy="44"/>
            </a:xfrm>
            <a:custGeom>
              <a:avLst/>
              <a:gdLst>
                <a:gd name="T0" fmla="*/ 0 w 1"/>
                <a:gd name="T1" fmla="*/ 8 h 11"/>
                <a:gd name="T2" fmla="*/ 1 w 1"/>
                <a:gd name="T3" fmla="*/ 11 h 11"/>
                <a:gd name="T4" fmla="*/ 1 w 1"/>
                <a:gd name="T5" fmla="*/ 2 h 11"/>
                <a:gd name="T6" fmla="*/ 1 w 1"/>
                <a:gd name="T7" fmla="*/ 0 h 11"/>
                <a:gd name="T8" fmla="*/ 0 w 1"/>
                <a:gd name="T9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1">
                  <a:moveTo>
                    <a:pt x="0" y="8"/>
                  </a:moveTo>
                  <a:cubicBezTo>
                    <a:pt x="0" y="9"/>
                    <a:pt x="1" y="10"/>
                    <a:pt x="1" y="11"/>
                  </a:cubicBezTo>
                  <a:cubicBezTo>
                    <a:pt x="1" y="8"/>
                    <a:pt x="1" y="5"/>
                    <a:pt x="1" y="2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3"/>
                    <a:pt x="1" y="5"/>
                    <a:pt x="0" y="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491">
              <a:extLst>
                <a:ext uri="{FF2B5EF4-FFF2-40B4-BE49-F238E27FC236}">
                  <a16:creationId xmlns:a16="http://schemas.microsoft.com/office/drawing/2014/main" id="{8A89AD6C-6C68-6BAB-10B1-2513684478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2211"/>
              <a:ext cx="0" cy="44"/>
            </a:xfrm>
            <a:custGeom>
              <a:avLst/>
              <a:gdLst>
                <a:gd name="T0" fmla="*/ 0 h 11"/>
                <a:gd name="T1" fmla="*/ 2 h 11"/>
                <a:gd name="T2" fmla="*/ 11 h 11"/>
                <a:gd name="T3" fmla="*/ 8 h 11"/>
                <a:gd name="T4" fmla="*/ 0 h 1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11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5"/>
                    <a:pt x="0" y="8"/>
                    <a:pt x="0" y="11"/>
                  </a:cubicBezTo>
                  <a:cubicBezTo>
                    <a:pt x="0" y="10"/>
                    <a:pt x="0" y="9"/>
                    <a:pt x="0" y="8"/>
                  </a:cubicBezTo>
                  <a:cubicBezTo>
                    <a:pt x="0" y="5"/>
                    <a:pt x="0" y="3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2" name="Graphic 21" descr="Chat RTL">
            <a:extLst>
              <a:ext uri="{FF2B5EF4-FFF2-40B4-BE49-F238E27FC236}">
                <a16:creationId xmlns:a16="http://schemas.microsoft.com/office/drawing/2014/main" id="{DF090772-A189-80C9-D709-7D8D153B822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70281" y="2186624"/>
            <a:ext cx="516155" cy="516155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88A8697A-B5DB-301C-B28D-88980E2F9D80}"/>
              </a:ext>
            </a:extLst>
          </p:cNvPr>
          <p:cNvSpPr/>
          <p:nvPr/>
        </p:nvSpPr>
        <p:spPr>
          <a:xfrm>
            <a:off x="543959" y="2771731"/>
            <a:ext cx="193092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GB" sz="1400" b="1" dirty="0"/>
              <a:t>GET IN TOUCH</a:t>
            </a:r>
          </a:p>
          <a:p>
            <a:pPr lvl="0" algn="ctr">
              <a:defRPr/>
            </a:pPr>
            <a:r>
              <a:rPr lang="en-GB" sz="1400" dirty="0">
                <a:solidFill>
                  <a:prstClr val="black">
                    <a:lumMod val="85000"/>
                    <a:lumOff val="15000"/>
                  </a:prstClr>
                </a:solidFill>
              </a:rPr>
              <a:t>Speak to your Account Manager to make sure you are applying for the best incentive for your needs and to check that you meet the requirements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F8B7B21-D582-AD1F-4A4B-52534695C694}"/>
              </a:ext>
            </a:extLst>
          </p:cNvPr>
          <p:cNvSpPr txBox="1"/>
          <p:nvPr/>
        </p:nvSpPr>
        <p:spPr>
          <a:xfrm>
            <a:off x="2461277" y="3994485"/>
            <a:ext cx="1782904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GB" sz="1400" b="1" dirty="0"/>
              <a:t>APPLY ONLINE</a:t>
            </a:r>
          </a:p>
          <a:p>
            <a:pPr lvl="0" algn="ctr">
              <a:defRPr/>
            </a:pPr>
            <a:r>
              <a:rPr lang="en-GB" sz="1400" dirty="0"/>
              <a:t>Use the link to the online application.  Your application can also be completed by an agent.</a:t>
            </a:r>
          </a:p>
        </p:txBody>
      </p:sp>
      <p:pic>
        <p:nvPicPr>
          <p:cNvPr id="25" name="Graphic 24" descr="Internet">
            <a:extLst>
              <a:ext uri="{FF2B5EF4-FFF2-40B4-BE49-F238E27FC236}">
                <a16:creationId xmlns:a16="http://schemas.microsoft.com/office/drawing/2014/main" id="{FE31E77F-19D8-0B7B-8684-7B1AF4B9EEB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075097" y="5413812"/>
            <a:ext cx="516155" cy="516155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C29D4217-8B06-8730-8CE3-A0C42DAA104E}"/>
              </a:ext>
            </a:extLst>
          </p:cNvPr>
          <p:cNvSpPr txBox="1"/>
          <p:nvPr/>
        </p:nvSpPr>
        <p:spPr>
          <a:xfrm>
            <a:off x="4227469" y="2885453"/>
            <a:ext cx="2003771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WE’LL GET IN TOUCH</a:t>
            </a:r>
          </a:p>
          <a:p>
            <a:pPr algn="ctr">
              <a:defRPr/>
            </a:pPr>
            <a:r>
              <a:rPr lang="en-GB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o discuss your application and check all the detail with you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C72E5B7-A2ED-515E-74FE-8FAC5EE5EC48}"/>
              </a:ext>
            </a:extLst>
          </p:cNvPr>
          <p:cNvSpPr txBox="1"/>
          <p:nvPr/>
        </p:nvSpPr>
        <p:spPr>
          <a:xfrm>
            <a:off x="6098662" y="4534324"/>
            <a:ext cx="199272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POST YOUR MAILINGS</a:t>
            </a:r>
            <a:endParaRPr lang="en-GB" sz="1400" dirty="0"/>
          </a:p>
          <a:p>
            <a:pPr algn="ctr">
              <a:defRPr/>
            </a:pPr>
            <a:r>
              <a:rPr lang="en-GB" sz="14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Start posting your volume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7F7D9C7-1379-A1FA-96FD-E2D43A4A0EE6}"/>
              </a:ext>
            </a:extLst>
          </p:cNvPr>
          <p:cNvSpPr txBox="1"/>
          <p:nvPr/>
        </p:nvSpPr>
        <p:spPr>
          <a:xfrm>
            <a:off x="9814795" y="3612037"/>
            <a:ext cx="1975346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REDEEM YOUR </a:t>
            </a:r>
          </a:p>
          <a:p>
            <a:pPr algn="ctr">
              <a:defRPr/>
            </a:pPr>
            <a:r>
              <a:rPr lang="en-GB" sz="1400" b="1" dirty="0"/>
              <a:t>CREDIT</a:t>
            </a:r>
          </a:p>
          <a:p>
            <a:pPr algn="ctr"/>
            <a:r>
              <a:rPr lang="en-GB" sz="1400" dirty="0"/>
              <a:t>Receive your credit as a voucher or have it paid into a Royal Mail postage account. Credit vouchers are valid for 12 months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B8164D4-3E9F-7EFF-62C9-DE9F57C1E975}"/>
              </a:ext>
            </a:extLst>
          </p:cNvPr>
          <p:cNvSpPr txBox="1"/>
          <p:nvPr/>
        </p:nvSpPr>
        <p:spPr>
          <a:xfrm>
            <a:off x="7989307" y="2832618"/>
            <a:ext cx="1923017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APPLY FOR YOUR POSTAGE CREDIT</a:t>
            </a:r>
            <a:endParaRPr lang="en-GB" sz="1400" dirty="0"/>
          </a:p>
          <a:p>
            <a:pPr algn="ctr">
              <a:defRPr/>
            </a:pPr>
            <a:r>
              <a:rPr lang="en-GB" sz="14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When you have completed your activity you will need to apply to Royal Mail for your credit</a:t>
            </a:r>
          </a:p>
        </p:txBody>
      </p:sp>
      <p:sp>
        <p:nvSpPr>
          <p:cNvPr id="30" name="Block Arc 29">
            <a:extLst>
              <a:ext uri="{FF2B5EF4-FFF2-40B4-BE49-F238E27FC236}">
                <a16:creationId xmlns:a16="http://schemas.microsoft.com/office/drawing/2014/main" id="{0852CE3E-F4DF-1771-60F3-3FE0E80AC9DC}"/>
              </a:ext>
            </a:extLst>
          </p:cNvPr>
          <p:cNvSpPr>
            <a:spLocks noChangeAspect="1"/>
          </p:cNvSpPr>
          <p:nvPr/>
        </p:nvSpPr>
        <p:spPr>
          <a:xfrm flipV="1">
            <a:off x="9694062" y="3515685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1" name="Graphic 30" descr="Envelope">
            <a:extLst>
              <a:ext uri="{FF2B5EF4-FFF2-40B4-BE49-F238E27FC236}">
                <a16:creationId xmlns:a16="http://schemas.microsoft.com/office/drawing/2014/main" id="{FDC25DE2-3043-2A21-E67A-0423678BA92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891475" y="5412396"/>
            <a:ext cx="469232" cy="469232"/>
          </a:xfrm>
          <a:prstGeom prst="rect">
            <a:avLst/>
          </a:prstGeom>
        </p:spPr>
      </p:pic>
      <p:sp>
        <p:nvSpPr>
          <p:cNvPr id="32" name="Oval 31">
            <a:extLst>
              <a:ext uri="{FF2B5EF4-FFF2-40B4-BE49-F238E27FC236}">
                <a16:creationId xmlns:a16="http://schemas.microsoft.com/office/drawing/2014/main" id="{B73105F3-E549-8116-68E9-EBFFCBC74C0E}"/>
              </a:ext>
            </a:extLst>
          </p:cNvPr>
          <p:cNvSpPr>
            <a:spLocks noChangeAspect="1"/>
          </p:cNvSpPr>
          <p:nvPr/>
        </p:nvSpPr>
        <p:spPr>
          <a:xfrm>
            <a:off x="10543140" y="5362902"/>
            <a:ext cx="624548" cy="62454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3" name="Plu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E3FEE62-5B03-A82A-30D6-545A175807CD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8726087" y="2304543"/>
            <a:ext cx="406708" cy="407907"/>
            <a:chOff x="50" y="50"/>
            <a:chExt cx="339" cy="340"/>
          </a:xfrm>
          <a:solidFill>
            <a:schemeClr val="bg1"/>
          </a:solidFill>
        </p:grpSpPr>
        <p:sp>
          <p:nvSpPr>
            <p:cNvPr id="34" name="Plus">
              <a:extLst>
                <a:ext uri="{FF2B5EF4-FFF2-40B4-BE49-F238E27FC236}">
                  <a16:creationId xmlns:a16="http://schemas.microsoft.com/office/drawing/2014/main" id="{37FEA078-30EC-E45C-694B-9F9BA700270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35" y="135"/>
              <a:ext cx="169" cy="170"/>
            </a:xfrm>
            <a:custGeom>
              <a:avLst/>
              <a:gdLst>
                <a:gd name="T0" fmla="*/ 50 w 100"/>
                <a:gd name="T1" fmla="*/ 100 h 100"/>
                <a:gd name="T2" fmla="*/ 63 w 100"/>
                <a:gd name="T3" fmla="*/ 88 h 100"/>
                <a:gd name="T4" fmla="*/ 63 w 100"/>
                <a:gd name="T5" fmla="*/ 63 h 100"/>
                <a:gd name="T6" fmla="*/ 88 w 100"/>
                <a:gd name="T7" fmla="*/ 63 h 100"/>
                <a:gd name="T8" fmla="*/ 100 w 100"/>
                <a:gd name="T9" fmla="*/ 50 h 100"/>
                <a:gd name="T10" fmla="*/ 88 w 100"/>
                <a:gd name="T11" fmla="*/ 38 h 100"/>
                <a:gd name="T12" fmla="*/ 63 w 100"/>
                <a:gd name="T13" fmla="*/ 38 h 100"/>
                <a:gd name="T14" fmla="*/ 63 w 100"/>
                <a:gd name="T15" fmla="*/ 13 h 100"/>
                <a:gd name="T16" fmla="*/ 50 w 100"/>
                <a:gd name="T17" fmla="*/ 0 h 100"/>
                <a:gd name="T18" fmla="*/ 38 w 100"/>
                <a:gd name="T19" fmla="*/ 13 h 100"/>
                <a:gd name="T20" fmla="*/ 38 w 100"/>
                <a:gd name="T21" fmla="*/ 38 h 100"/>
                <a:gd name="T22" fmla="*/ 13 w 100"/>
                <a:gd name="T23" fmla="*/ 38 h 100"/>
                <a:gd name="T24" fmla="*/ 0 w 100"/>
                <a:gd name="T25" fmla="*/ 50 h 100"/>
                <a:gd name="T26" fmla="*/ 13 w 100"/>
                <a:gd name="T27" fmla="*/ 63 h 100"/>
                <a:gd name="T28" fmla="*/ 38 w 100"/>
                <a:gd name="T29" fmla="*/ 63 h 100"/>
                <a:gd name="T30" fmla="*/ 38 w 100"/>
                <a:gd name="T31" fmla="*/ 88 h 100"/>
                <a:gd name="T32" fmla="*/ 50 w 100"/>
                <a:gd name="T33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00">
                  <a:moveTo>
                    <a:pt x="50" y="100"/>
                  </a:moveTo>
                  <a:cubicBezTo>
                    <a:pt x="57" y="100"/>
                    <a:pt x="63" y="94"/>
                    <a:pt x="63" y="88"/>
                  </a:cubicBezTo>
                  <a:lnTo>
                    <a:pt x="63" y="63"/>
                  </a:lnTo>
                  <a:lnTo>
                    <a:pt x="88" y="63"/>
                  </a:lnTo>
                  <a:cubicBezTo>
                    <a:pt x="94" y="63"/>
                    <a:pt x="100" y="57"/>
                    <a:pt x="100" y="50"/>
                  </a:cubicBezTo>
                  <a:cubicBezTo>
                    <a:pt x="100" y="43"/>
                    <a:pt x="94" y="38"/>
                    <a:pt x="88" y="38"/>
                  </a:cubicBezTo>
                  <a:lnTo>
                    <a:pt x="63" y="38"/>
                  </a:lnTo>
                  <a:lnTo>
                    <a:pt x="63" y="13"/>
                  </a:lnTo>
                  <a:cubicBezTo>
                    <a:pt x="63" y="6"/>
                    <a:pt x="57" y="0"/>
                    <a:pt x="50" y="0"/>
                  </a:cubicBezTo>
                  <a:cubicBezTo>
                    <a:pt x="43" y="0"/>
                    <a:pt x="38" y="6"/>
                    <a:pt x="38" y="13"/>
                  </a:cubicBezTo>
                  <a:lnTo>
                    <a:pt x="38" y="38"/>
                  </a:lnTo>
                  <a:lnTo>
                    <a:pt x="13" y="38"/>
                  </a:lnTo>
                  <a:cubicBezTo>
                    <a:pt x="6" y="38"/>
                    <a:pt x="0" y="43"/>
                    <a:pt x="0" y="50"/>
                  </a:cubicBezTo>
                  <a:cubicBezTo>
                    <a:pt x="0" y="57"/>
                    <a:pt x="6" y="63"/>
                    <a:pt x="13" y="63"/>
                  </a:cubicBezTo>
                  <a:lnTo>
                    <a:pt x="38" y="63"/>
                  </a:lnTo>
                  <a:lnTo>
                    <a:pt x="38" y="88"/>
                  </a:lnTo>
                  <a:cubicBezTo>
                    <a:pt x="38" y="94"/>
                    <a:pt x="43" y="100"/>
                    <a:pt x="50" y="1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Plus">
              <a:extLst>
                <a:ext uri="{FF2B5EF4-FFF2-40B4-BE49-F238E27FC236}">
                  <a16:creationId xmlns:a16="http://schemas.microsoft.com/office/drawing/2014/main" id="{1AEDD5D4-1CA8-E154-0B36-766D2C8E38B1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50" y="50"/>
              <a:ext cx="339" cy="340"/>
            </a:xfrm>
            <a:custGeom>
              <a:avLst/>
              <a:gdLst>
                <a:gd name="T0" fmla="*/ 100 w 200"/>
                <a:gd name="T1" fmla="*/ 0 h 200"/>
                <a:gd name="T2" fmla="*/ 0 w 200"/>
                <a:gd name="T3" fmla="*/ 100 h 200"/>
                <a:gd name="T4" fmla="*/ 100 w 200"/>
                <a:gd name="T5" fmla="*/ 200 h 200"/>
                <a:gd name="T6" fmla="*/ 151 w 200"/>
                <a:gd name="T7" fmla="*/ 186 h 200"/>
                <a:gd name="T8" fmla="*/ 156 w 200"/>
                <a:gd name="T9" fmla="*/ 169 h 200"/>
                <a:gd name="T10" fmla="*/ 139 w 200"/>
                <a:gd name="T11" fmla="*/ 164 h 200"/>
                <a:gd name="T12" fmla="*/ 100 w 200"/>
                <a:gd name="T13" fmla="*/ 175 h 200"/>
                <a:gd name="T14" fmla="*/ 25 w 200"/>
                <a:gd name="T15" fmla="*/ 100 h 200"/>
                <a:gd name="T16" fmla="*/ 100 w 200"/>
                <a:gd name="T17" fmla="*/ 25 h 200"/>
                <a:gd name="T18" fmla="*/ 175 w 200"/>
                <a:gd name="T19" fmla="*/ 100 h 200"/>
                <a:gd name="T20" fmla="*/ 164 w 200"/>
                <a:gd name="T21" fmla="*/ 139 h 200"/>
                <a:gd name="T22" fmla="*/ 169 w 200"/>
                <a:gd name="T23" fmla="*/ 156 h 200"/>
                <a:gd name="T24" fmla="*/ 186 w 200"/>
                <a:gd name="T25" fmla="*/ 151 h 200"/>
                <a:gd name="T26" fmla="*/ 200 w 200"/>
                <a:gd name="T27" fmla="*/ 100 h 200"/>
                <a:gd name="T28" fmla="*/ 100 w 200"/>
                <a:gd name="T29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0" h="200">
                  <a:moveTo>
                    <a:pt x="100" y="0"/>
                  </a:moveTo>
                  <a:cubicBezTo>
                    <a:pt x="45" y="0"/>
                    <a:pt x="0" y="45"/>
                    <a:pt x="0" y="100"/>
                  </a:cubicBezTo>
                  <a:cubicBezTo>
                    <a:pt x="0" y="155"/>
                    <a:pt x="45" y="200"/>
                    <a:pt x="100" y="200"/>
                  </a:cubicBezTo>
                  <a:cubicBezTo>
                    <a:pt x="118" y="200"/>
                    <a:pt x="136" y="195"/>
                    <a:pt x="151" y="186"/>
                  </a:cubicBezTo>
                  <a:cubicBezTo>
                    <a:pt x="157" y="182"/>
                    <a:pt x="159" y="174"/>
                    <a:pt x="156" y="169"/>
                  </a:cubicBezTo>
                  <a:cubicBezTo>
                    <a:pt x="152" y="163"/>
                    <a:pt x="144" y="161"/>
                    <a:pt x="139" y="164"/>
                  </a:cubicBezTo>
                  <a:cubicBezTo>
                    <a:pt x="127" y="171"/>
                    <a:pt x="114" y="175"/>
                    <a:pt x="100" y="175"/>
                  </a:cubicBezTo>
                  <a:cubicBezTo>
                    <a:pt x="59" y="175"/>
                    <a:pt x="25" y="141"/>
                    <a:pt x="25" y="100"/>
                  </a:cubicBezTo>
                  <a:cubicBezTo>
                    <a:pt x="25" y="59"/>
                    <a:pt x="59" y="25"/>
                    <a:pt x="100" y="25"/>
                  </a:cubicBezTo>
                  <a:cubicBezTo>
                    <a:pt x="141" y="25"/>
                    <a:pt x="175" y="59"/>
                    <a:pt x="175" y="100"/>
                  </a:cubicBezTo>
                  <a:cubicBezTo>
                    <a:pt x="175" y="114"/>
                    <a:pt x="171" y="127"/>
                    <a:pt x="164" y="139"/>
                  </a:cubicBezTo>
                  <a:cubicBezTo>
                    <a:pt x="161" y="144"/>
                    <a:pt x="163" y="152"/>
                    <a:pt x="169" y="156"/>
                  </a:cubicBezTo>
                  <a:cubicBezTo>
                    <a:pt x="174" y="159"/>
                    <a:pt x="182" y="157"/>
                    <a:pt x="186" y="151"/>
                  </a:cubicBezTo>
                  <a:cubicBezTo>
                    <a:pt x="195" y="136"/>
                    <a:pt x="200" y="118"/>
                    <a:pt x="200" y="100"/>
                  </a:cubicBezTo>
                  <a:cubicBezTo>
                    <a:pt x="200" y="45"/>
                    <a:pt x="155" y="0"/>
                    <a:pt x="10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6" name="Accountin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43B14C4-C1D4-8F39-3855-392989E1461B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10647090" y="5477695"/>
            <a:ext cx="482002" cy="407907"/>
            <a:chOff x="2687638" y="138112"/>
            <a:chExt cx="981075" cy="830263"/>
          </a:xfrm>
          <a:solidFill>
            <a:schemeClr val="tx1"/>
          </a:solidFill>
        </p:grpSpPr>
        <p:sp>
          <p:nvSpPr>
            <p:cNvPr id="37" name="Freeform 105">
              <a:extLst>
                <a:ext uri="{FF2B5EF4-FFF2-40B4-BE49-F238E27FC236}">
                  <a16:creationId xmlns:a16="http://schemas.microsoft.com/office/drawing/2014/main" id="{0272BB4D-BD74-1E86-EE68-AF6C1EBE5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0338" y="138112"/>
              <a:ext cx="968375" cy="514350"/>
            </a:xfrm>
            <a:custGeom>
              <a:avLst/>
              <a:gdLst>
                <a:gd name="T0" fmla="*/ 1260 w 1272"/>
                <a:gd name="T1" fmla="*/ 388 h 675"/>
                <a:gd name="T2" fmla="*/ 595 w 1272"/>
                <a:gd name="T3" fmla="*/ 4 h 675"/>
                <a:gd name="T4" fmla="*/ 570 w 1272"/>
                <a:gd name="T5" fmla="*/ 4 h 675"/>
                <a:gd name="T6" fmla="*/ 13 w 1272"/>
                <a:gd name="T7" fmla="*/ 328 h 675"/>
                <a:gd name="T8" fmla="*/ 0 w 1272"/>
                <a:gd name="T9" fmla="*/ 350 h 675"/>
                <a:gd name="T10" fmla="*/ 13 w 1272"/>
                <a:gd name="T11" fmla="*/ 371 h 675"/>
                <a:gd name="T12" fmla="*/ 234 w 1272"/>
                <a:gd name="T13" fmla="*/ 499 h 675"/>
                <a:gd name="T14" fmla="*/ 284 w 1272"/>
                <a:gd name="T15" fmla="*/ 470 h 675"/>
                <a:gd name="T16" fmla="*/ 75 w 1272"/>
                <a:gd name="T17" fmla="*/ 350 h 675"/>
                <a:gd name="T18" fmla="*/ 583 w 1272"/>
                <a:gd name="T19" fmla="*/ 55 h 675"/>
                <a:gd name="T20" fmla="*/ 1197 w 1272"/>
                <a:gd name="T21" fmla="*/ 409 h 675"/>
                <a:gd name="T22" fmla="*/ 791 w 1272"/>
                <a:gd name="T23" fmla="*/ 646 h 675"/>
                <a:gd name="T24" fmla="*/ 841 w 1272"/>
                <a:gd name="T25" fmla="*/ 675 h 675"/>
                <a:gd name="T26" fmla="*/ 1260 w 1272"/>
                <a:gd name="T27" fmla="*/ 431 h 675"/>
                <a:gd name="T28" fmla="*/ 1272 w 1272"/>
                <a:gd name="T29" fmla="*/ 409 h 675"/>
                <a:gd name="T30" fmla="*/ 1260 w 1272"/>
                <a:gd name="T31" fmla="*/ 388 h 6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72" h="675">
                  <a:moveTo>
                    <a:pt x="1260" y="388"/>
                  </a:moveTo>
                  <a:lnTo>
                    <a:pt x="595" y="4"/>
                  </a:lnTo>
                  <a:cubicBezTo>
                    <a:pt x="588" y="0"/>
                    <a:pt x="578" y="0"/>
                    <a:pt x="570" y="4"/>
                  </a:cubicBezTo>
                  <a:lnTo>
                    <a:pt x="13" y="328"/>
                  </a:lnTo>
                  <a:cubicBezTo>
                    <a:pt x="5" y="333"/>
                    <a:pt x="0" y="341"/>
                    <a:pt x="0" y="350"/>
                  </a:cubicBezTo>
                  <a:cubicBezTo>
                    <a:pt x="0" y="359"/>
                    <a:pt x="5" y="367"/>
                    <a:pt x="13" y="371"/>
                  </a:cubicBezTo>
                  <a:lnTo>
                    <a:pt x="234" y="499"/>
                  </a:lnTo>
                  <a:lnTo>
                    <a:pt x="284" y="470"/>
                  </a:lnTo>
                  <a:lnTo>
                    <a:pt x="75" y="350"/>
                  </a:lnTo>
                  <a:lnTo>
                    <a:pt x="583" y="55"/>
                  </a:lnTo>
                  <a:lnTo>
                    <a:pt x="1197" y="409"/>
                  </a:lnTo>
                  <a:lnTo>
                    <a:pt x="791" y="646"/>
                  </a:lnTo>
                  <a:lnTo>
                    <a:pt x="841" y="675"/>
                  </a:lnTo>
                  <a:lnTo>
                    <a:pt x="1260" y="431"/>
                  </a:lnTo>
                  <a:cubicBezTo>
                    <a:pt x="1268" y="427"/>
                    <a:pt x="1272" y="418"/>
                    <a:pt x="1272" y="409"/>
                  </a:cubicBezTo>
                  <a:cubicBezTo>
                    <a:pt x="1272" y="400"/>
                    <a:pt x="1267" y="392"/>
                    <a:pt x="1260" y="38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106">
              <a:extLst>
                <a:ext uri="{FF2B5EF4-FFF2-40B4-BE49-F238E27FC236}">
                  <a16:creationId xmlns:a16="http://schemas.microsoft.com/office/drawing/2014/main" id="{4A985E68-26EF-90A0-CAB5-A8BF36119DF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1651" y="296862"/>
              <a:ext cx="296863" cy="111125"/>
            </a:xfrm>
            <a:custGeom>
              <a:avLst/>
              <a:gdLst>
                <a:gd name="T0" fmla="*/ 388 w 388"/>
                <a:gd name="T1" fmla="*/ 45 h 146"/>
                <a:gd name="T2" fmla="*/ 186 w 388"/>
                <a:gd name="T3" fmla="*/ 0 h 146"/>
                <a:gd name="T4" fmla="*/ 0 w 388"/>
                <a:gd name="T5" fmla="*/ 37 h 146"/>
                <a:gd name="T6" fmla="*/ 188 w 388"/>
                <a:gd name="T7" fmla="*/ 146 h 146"/>
                <a:gd name="T8" fmla="*/ 388 w 388"/>
                <a:gd name="T9" fmla="*/ 4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8" h="146">
                  <a:moveTo>
                    <a:pt x="388" y="45"/>
                  </a:moveTo>
                  <a:cubicBezTo>
                    <a:pt x="333" y="16"/>
                    <a:pt x="262" y="0"/>
                    <a:pt x="186" y="0"/>
                  </a:cubicBezTo>
                  <a:cubicBezTo>
                    <a:pt x="118" y="0"/>
                    <a:pt x="52" y="13"/>
                    <a:pt x="0" y="37"/>
                  </a:cubicBezTo>
                  <a:lnTo>
                    <a:pt x="188" y="146"/>
                  </a:lnTo>
                  <a:lnTo>
                    <a:pt x="388" y="4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107">
              <a:extLst>
                <a:ext uri="{FF2B5EF4-FFF2-40B4-BE49-F238E27FC236}">
                  <a16:creationId xmlns:a16="http://schemas.microsoft.com/office/drawing/2014/main" id="{F02F9B5F-5332-34FD-102A-B7B35CC38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350837"/>
              <a:ext cx="204788" cy="196850"/>
            </a:xfrm>
            <a:custGeom>
              <a:avLst/>
              <a:gdLst>
                <a:gd name="T0" fmla="*/ 81 w 267"/>
                <a:gd name="T1" fmla="*/ 257 h 257"/>
                <a:gd name="T2" fmla="*/ 163 w 267"/>
                <a:gd name="T3" fmla="*/ 227 h 257"/>
                <a:gd name="T4" fmla="*/ 264 w 267"/>
                <a:gd name="T5" fmla="*/ 109 h 257"/>
                <a:gd name="T6" fmla="*/ 209 w 267"/>
                <a:gd name="T7" fmla="*/ 0 h 257"/>
                <a:gd name="T8" fmla="*/ 0 w 267"/>
                <a:gd name="T9" fmla="*/ 105 h 257"/>
                <a:gd name="T10" fmla="*/ 81 w 267"/>
                <a:gd name="T11" fmla="*/ 25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57">
                  <a:moveTo>
                    <a:pt x="81" y="257"/>
                  </a:moveTo>
                  <a:cubicBezTo>
                    <a:pt x="111" y="250"/>
                    <a:pt x="138" y="240"/>
                    <a:pt x="163" y="227"/>
                  </a:cubicBezTo>
                  <a:cubicBezTo>
                    <a:pt x="223" y="197"/>
                    <a:pt x="259" y="155"/>
                    <a:pt x="264" y="109"/>
                  </a:cubicBezTo>
                  <a:cubicBezTo>
                    <a:pt x="267" y="70"/>
                    <a:pt x="248" y="32"/>
                    <a:pt x="209" y="0"/>
                  </a:cubicBezTo>
                  <a:lnTo>
                    <a:pt x="0" y="105"/>
                  </a:lnTo>
                  <a:lnTo>
                    <a:pt x="81" y="25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 108">
              <a:extLst>
                <a:ext uri="{FF2B5EF4-FFF2-40B4-BE49-F238E27FC236}">
                  <a16:creationId xmlns:a16="http://schemas.microsoft.com/office/drawing/2014/main" id="{6849CACB-3F5C-1891-33C4-01EAD6C022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3226" y="344487"/>
              <a:ext cx="285750" cy="212725"/>
            </a:xfrm>
            <a:custGeom>
              <a:avLst/>
              <a:gdLst>
                <a:gd name="T0" fmla="*/ 317 w 375"/>
                <a:gd name="T1" fmla="*/ 279 h 279"/>
                <a:gd name="T2" fmla="*/ 375 w 375"/>
                <a:gd name="T3" fmla="*/ 275 h 279"/>
                <a:gd name="T4" fmla="*/ 291 w 375"/>
                <a:gd name="T5" fmla="*/ 118 h 279"/>
                <a:gd name="T6" fmla="*/ 85 w 375"/>
                <a:gd name="T7" fmla="*/ 0 h 279"/>
                <a:gd name="T8" fmla="*/ 32 w 375"/>
                <a:gd name="T9" fmla="*/ 159 h 279"/>
                <a:gd name="T10" fmla="*/ 154 w 375"/>
                <a:gd name="T11" fmla="*/ 155 h 279"/>
                <a:gd name="T12" fmla="*/ 304 w 375"/>
                <a:gd name="T13" fmla="*/ 277 h 279"/>
                <a:gd name="T14" fmla="*/ 317 w 375"/>
                <a:gd name="T15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5" h="279">
                  <a:moveTo>
                    <a:pt x="317" y="279"/>
                  </a:moveTo>
                  <a:cubicBezTo>
                    <a:pt x="336" y="279"/>
                    <a:pt x="356" y="278"/>
                    <a:pt x="375" y="275"/>
                  </a:cubicBezTo>
                  <a:lnTo>
                    <a:pt x="291" y="118"/>
                  </a:lnTo>
                  <a:lnTo>
                    <a:pt x="85" y="0"/>
                  </a:lnTo>
                  <a:cubicBezTo>
                    <a:pt x="21" y="44"/>
                    <a:pt x="0" y="101"/>
                    <a:pt x="32" y="159"/>
                  </a:cubicBezTo>
                  <a:cubicBezTo>
                    <a:pt x="72" y="133"/>
                    <a:pt x="119" y="133"/>
                    <a:pt x="154" y="155"/>
                  </a:cubicBezTo>
                  <a:lnTo>
                    <a:pt x="304" y="277"/>
                  </a:lnTo>
                  <a:cubicBezTo>
                    <a:pt x="304" y="277"/>
                    <a:pt x="307" y="279"/>
                    <a:pt x="317" y="27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109">
              <a:extLst>
                <a:ext uri="{FF2B5EF4-FFF2-40B4-BE49-F238E27FC236}">
                  <a16:creationId xmlns:a16="http://schemas.microsoft.com/office/drawing/2014/main" id="{F582A16A-C9AD-09E8-62E0-C94A78D58B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87638" y="484187"/>
              <a:ext cx="684213" cy="484188"/>
            </a:xfrm>
            <a:custGeom>
              <a:avLst/>
              <a:gdLst>
                <a:gd name="T0" fmla="*/ 848 w 898"/>
                <a:gd name="T1" fmla="*/ 363 h 635"/>
                <a:gd name="T2" fmla="*/ 472 w 898"/>
                <a:gd name="T3" fmla="*/ 580 h 635"/>
                <a:gd name="T4" fmla="*/ 466 w 898"/>
                <a:gd name="T5" fmla="*/ 581 h 635"/>
                <a:gd name="T6" fmla="*/ 459 w 898"/>
                <a:gd name="T7" fmla="*/ 580 h 635"/>
                <a:gd name="T8" fmla="*/ 178 w 898"/>
                <a:gd name="T9" fmla="*/ 417 h 635"/>
                <a:gd name="T10" fmla="*/ 50 w 898"/>
                <a:gd name="T11" fmla="*/ 308 h 635"/>
                <a:gd name="T12" fmla="*/ 50 w 898"/>
                <a:gd name="T13" fmla="*/ 275 h 635"/>
                <a:gd name="T14" fmla="*/ 426 w 898"/>
                <a:gd name="T15" fmla="*/ 58 h 635"/>
                <a:gd name="T16" fmla="*/ 433 w 898"/>
                <a:gd name="T17" fmla="*/ 56 h 635"/>
                <a:gd name="T18" fmla="*/ 438 w 898"/>
                <a:gd name="T19" fmla="*/ 57 h 635"/>
                <a:gd name="T20" fmla="*/ 579 w 898"/>
                <a:gd name="T21" fmla="*/ 174 h 635"/>
                <a:gd name="T22" fmla="*/ 848 w 898"/>
                <a:gd name="T23" fmla="*/ 330 h 635"/>
                <a:gd name="T24" fmla="*/ 848 w 898"/>
                <a:gd name="T25" fmla="*/ 363 h 635"/>
                <a:gd name="T26" fmla="*/ 497 w 898"/>
                <a:gd name="T27" fmla="*/ 623 h 635"/>
                <a:gd name="T28" fmla="*/ 873 w 898"/>
                <a:gd name="T29" fmla="*/ 406 h 635"/>
                <a:gd name="T30" fmla="*/ 898 w 898"/>
                <a:gd name="T31" fmla="*/ 363 h 635"/>
                <a:gd name="T32" fmla="*/ 898 w 898"/>
                <a:gd name="T33" fmla="*/ 330 h 635"/>
                <a:gd name="T34" fmla="*/ 873 w 898"/>
                <a:gd name="T35" fmla="*/ 287 h 635"/>
                <a:gd name="T36" fmla="*/ 608 w 898"/>
                <a:gd name="T37" fmla="*/ 133 h 635"/>
                <a:gd name="T38" fmla="*/ 470 w 898"/>
                <a:gd name="T39" fmla="*/ 19 h 635"/>
                <a:gd name="T40" fmla="*/ 401 w 898"/>
                <a:gd name="T41" fmla="*/ 14 h 635"/>
                <a:gd name="T42" fmla="*/ 25 w 898"/>
                <a:gd name="T43" fmla="*/ 231 h 635"/>
                <a:gd name="T44" fmla="*/ 0 w 898"/>
                <a:gd name="T45" fmla="*/ 274 h 635"/>
                <a:gd name="T46" fmla="*/ 0 w 898"/>
                <a:gd name="T47" fmla="*/ 307 h 635"/>
                <a:gd name="T48" fmla="*/ 18 w 898"/>
                <a:gd name="T49" fmla="*/ 346 h 635"/>
                <a:gd name="T50" fmla="*/ 146 w 898"/>
                <a:gd name="T51" fmla="*/ 455 h 635"/>
                <a:gd name="T52" fmla="*/ 153 w 898"/>
                <a:gd name="T53" fmla="*/ 460 h 635"/>
                <a:gd name="T54" fmla="*/ 434 w 898"/>
                <a:gd name="T55" fmla="*/ 623 h 635"/>
                <a:gd name="T56" fmla="*/ 497 w 898"/>
                <a:gd name="T57" fmla="*/ 623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98" h="635">
                  <a:moveTo>
                    <a:pt x="848" y="363"/>
                  </a:moveTo>
                  <a:lnTo>
                    <a:pt x="472" y="580"/>
                  </a:lnTo>
                  <a:cubicBezTo>
                    <a:pt x="470" y="581"/>
                    <a:pt x="468" y="581"/>
                    <a:pt x="466" y="581"/>
                  </a:cubicBezTo>
                  <a:cubicBezTo>
                    <a:pt x="464" y="581"/>
                    <a:pt x="461" y="581"/>
                    <a:pt x="459" y="580"/>
                  </a:cubicBezTo>
                  <a:lnTo>
                    <a:pt x="178" y="417"/>
                  </a:lnTo>
                  <a:lnTo>
                    <a:pt x="50" y="308"/>
                  </a:lnTo>
                  <a:lnTo>
                    <a:pt x="50" y="275"/>
                  </a:lnTo>
                  <a:lnTo>
                    <a:pt x="426" y="58"/>
                  </a:lnTo>
                  <a:cubicBezTo>
                    <a:pt x="427" y="57"/>
                    <a:pt x="430" y="56"/>
                    <a:pt x="433" y="56"/>
                  </a:cubicBezTo>
                  <a:cubicBezTo>
                    <a:pt x="435" y="56"/>
                    <a:pt x="437" y="56"/>
                    <a:pt x="438" y="57"/>
                  </a:cubicBezTo>
                  <a:lnTo>
                    <a:pt x="579" y="174"/>
                  </a:lnTo>
                  <a:lnTo>
                    <a:pt x="848" y="330"/>
                  </a:lnTo>
                  <a:lnTo>
                    <a:pt x="848" y="363"/>
                  </a:lnTo>
                  <a:close/>
                  <a:moveTo>
                    <a:pt x="497" y="623"/>
                  </a:moveTo>
                  <a:lnTo>
                    <a:pt x="873" y="406"/>
                  </a:lnTo>
                  <a:cubicBezTo>
                    <a:pt x="889" y="397"/>
                    <a:pt x="898" y="380"/>
                    <a:pt x="898" y="363"/>
                  </a:cubicBezTo>
                  <a:lnTo>
                    <a:pt x="898" y="330"/>
                  </a:lnTo>
                  <a:cubicBezTo>
                    <a:pt x="898" y="312"/>
                    <a:pt x="888" y="296"/>
                    <a:pt x="873" y="287"/>
                  </a:cubicBezTo>
                  <a:lnTo>
                    <a:pt x="608" y="133"/>
                  </a:lnTo>
                  <a:lnTo>
                    <a:pt x="470" y="19"/>
                  </a:lnTo>
                  <a:cubicBezTo>
                    <a:pt x="453" y="5"/>
                    <a:pt x="431" y="0"/>
                    <a:pt x="401" y="14"/>
                  </a:cubicBezTo>
                  <a:lnTo>
                    <a:pt x="25" y="231"/>
                  </a:lnTo>
                  <a:cubicBezTo>
                    <a:pt x="10" y="240"/>
                    <a:pt x="0" y="257"/>
                    <a:pt x="0" y="274"/>
                  </a:cubicBezTo>
                  <a:lnTo>
                    <a:pt x="0" y="307"/>
                  </a:lnTo>
                  <a:cubicBezTo>
                    <a:pt x="0" y="322"/>
                    <a:pt x="7" y="336"/>
                    <a:pt x="18" y="346"/>
                  </a:cubicBezTo>
                  <a:lnTo>
                    <a:pt x="146" y="455"/>
                  </a:lnTo>
                  <a:cubicBezTo>
                    <a:pt x="148" y="457"/>
                    <a:pt x="151" y="458"/>
                    <a:pt x="153" y="460"/>
                  </a:cubicBezTo>
                  <a:lnTo>
                    <a:pt x="434" y="623"/>
                  </a:lnTo>
                  <a:cubicBezTo>
                    <a:pt x="456" y="635"/>
                    <a:pt x="477" y="635"/>
                    <a:pt x="497" y="6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 110">
              <a:extLst>
                <a:ext uri="{FF2B5EF4-FFF2-40B4-BE49-F238E27FC236}">
                  <a16:creationId xmlns:a16="http://schemas.microsoft.com/office/drawing/2014/main" id="{7FC20B91-2CE7-BF27-3FBD-AD4B4415DA5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8488" y="717550"/>
              <a:ext cx="93663" cy="55563"/>
            </a:xfrm>
            <a:custGeom>
              <a:avLst/>
              <a:gdLst>
                <a:gd name="T0" fmla="*/ 22 w 123"/>
                <a:gd name="T1" fmla="*/ 59 h 72"/>
                <a:gd name="T2" fmla="*/ 101 w 123"/>
                <a:gd name="T3" fmla="*/ 59 h 72"/>
                <a:gd name="T4" fmla="*/ 101 w 123"/>
                <a:gd name="T5" fmla="*/ 13 h 72"/>
                <a:gd name="T6" fmla="*/ 22 w 123"/>
                <a:gd name="T7" fmla="*/ 13 h 72"/>
                <a:gd name="T8" fmla="*/ 22 w 123"/>
                <a:gd name="T9" fmla="*/ 5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2">
                  <a:moveTo>
                    <a:pt x="22" y="59"/>
                  </a:moveTo>
                  <a:cubicBezTo>
                    <a:pt x="44" y="72"/>
                    <a:pt x="79" y="72"/>
                    <a:pt x="101" y="59"/>
                  </a:cubicBezTo>
                  <a:cubicBezTo>
                    <a:pt x="123" y="46"/>
                    <a:pt x="123" y="26"/>
                    <a:pt x="101" y="13"/>
                  </a:cubicBezTo>
                  <a:cubicBezTo>
                    <a:pt x="80" y="0"/>
                    <a:pt x="44" y="0"/>
                    <a:pt x="22" y="13"/>
                  </a:cubicBezTo>
                  <a:cubicBezTo>
                    <a:pt x="0" y="26"/>
                    <a:pt x="0" y="46"/>
                    <a:pt x="22" y="5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 111">
              <a:extLst>
                <a:ext uri="{FF2B5EF4-FFF2-40B4-BE49-F238E27FC236}">
                  <a16:creationId xmlns:a16="http://schemas.microsoft.com/office/drawing/2014/main" id="{B46255EE-C6AA-42EA-FE31-B31DE9AD82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6888" y="658812"/>
              <a:ext cx="93663" cy="53975"/>
            </a:xfrm>
            <a:custGeom>
              <a:avLst/>
              <a:gdLst>
                <a:gd name="T0" fmla="*/ 101 w 123"/>
                <a:gd name="T1" fmla="*/ 12 h 71"/>
                <a:gd name="T2" fmla="*/ 22 w 123"/>
                <a:gd name="T3" fmla="*/ 12 h 71"/>
                <a:gd name="T4" fmla="*/ 21 w 123"/>
                <a:gd name="T5" fmla="*/ 58 h 71"/>
                <a:gd name="T6" fmla="*/ 101 w 123"/>
                <a:gd name="T7" fmla="*/ 58 h 71"/>
                <a:gd name="T8" fmla="*/ 101 w 123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1">
                  <a:moveTo>
                    <a:pt x="101" y="12"/>
                  </a:moveTo>
                  <a:cubicBezTo>
                    <a:pt x="79" y="0"/>
                    <a:pt x="44" y="0"/>
                    <a:pt x="22" y="12"/>
                  </a:cubicBezTo>
                  <a:cubicBezTo>
                    <a:pt x="0" y="25"/>
                    <a:pt x="0" y="46"/>
                    <a:pt x="21" y="58"/>
                  </a:cubicBezTo>
                  <a:cubicBezTo>
                    <a:pt x="43" y="71"/>
                    <a:pt x="79" y="71"/>
                    <a:pt x="101" y="58"/>
                  </a:cubicBezTo>
                  <a:cubicBezTo>
                    <a:pt x="122" y="46"/>
                    <a:pt x="123" y="25"/>
                    <a:pt x="101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 112">
              <a:extLst>
                <a:ext uri="{FF2B5EF4-FFF2-40B4-BE49-F238E27FC236}">
                  <a16:creationId xmlns:a16="http://schemas.microsoft.com/office/drawing/2014/main" id="{90FD0DA1-77AC-498C-180A-C8CE42506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4663" y="788987"/>
              <a:ext cx="95250" cy="53975"/>
            </a:xfrm>
            <a:custGeom>
              <a:avLst/>
              <a:gdLst>
                <a:gd name="T0" fmla="*/ 101 w 123"/>
                <a:gd name="T1" fmla="*/ 12 h 71"/>
                <a:gd name="T2" fmla="*/ 22 w 123"/>
                <a:gd name="T3" fmla="*/ 12 h 71"/>
                <a:gd name="T4" fmla="*/ 22 w 123"/>
                <a:gd name="T5" fmla="*/ 58 h 71"/>
                <a:gd name="T6" fmla="*/ 101 w 123"/>
                <a:gd name="T7" fmla="*/ 58 h 71"/>
                <a:gd name="T8" fmla="*/ 101 w 123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1">
                  <a:moveTo>
                    <a:pt x="101" y="12"/>
                  </a:moveTo>
                  <a:cubicBezTo>
                    <a:pt x="80" y="0"/>
                    <a:pt x="44" y="0"/>
                    <a:pt x="22" y="12"/>
                  </a:cubicBezTo>
                  <a:cubicBezTo>
                    <a:pt x="0" y="25"/>
                    <a:pt x="0" y="45"/>
                    <a:pt x="22" y="58"/>
                  </a:cubicBezTo>
                  <a:cubicBezTo>
                    <a:pt x="44" y="71"/>
                    <a:pt x="79" y="71"/>
                    <a:pt x="101" y="58"/>
                  </a:cubicBezTo>
                  <a:cubicBezTo>
                    <a:pt x="123" y="45"/>
                    <a:pt x="123" y="25"/>
                    <a:pt x="101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eform 113">
              <a:extLst>
                <a:ext uri="{FF2B5EF4-FFF2-40B4-BE49-F238E27FC236}">
                  <a16:creationId xmlns:a16="http://schemas.microsoft.com/office/drawing/2014/main" id="{C3E700F9-647F-D069-8EEB-E03A827396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4651" y="730250"/>
              <a:ext cx="92075" cy="53975"/>
            </a:xfrm>
            <a:custGeom>
              <a:avLst/>
              <a:gdLst>
                <a:gd name="T0" fmla="*/ 101 w 122"/>
                <a:gd name="T1" fmla="*/ 12 h 71"/>
                <a:gd name="T2" fmla="*/ 22 w 122"/>
                <a:gd name="T3" fmla="*/ 12 h 71"/>
                <a:gd name="T4" fmla="*/ 21 w 122"/>
                <a:gd name="T5" fmla="*/ 58 h 71"/>
                <a:gd name="T6" fmla="*/ 100 w 122"/>
                <a:gd name="T7" fmla="*/ 58 h 71"/>
                <a:gd name="T8" fmla="*/ 101 w 122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71">
                  <a:moveTo>
                    <a:pt x="101" y="12"/>
                  </a:moveTo>
                  <a:cubicBezTo>
                    <a:pt x="79" y="0"/>
                    <a:pt x="43" y="0"/>
                    <a:pt x="22" y="12"/>
                  </a:cubicBezTo>
                  <a:cubicBezTo>
                    <a:pt x="0" y="25"/>
                    <a:pt x="0" y="46"/>
                    <a:pt x="21" y="58"/>
                  </a:cubicBezTo>
                  <a:cubicBezTo>
                    <a:pt x="43" y="71"/>
                    <a:pt x="79" y="71"/>
                    <a:pt x="100" y="58"/>
                  </a:cubicBezTo>
                  <a:cubicBezTo>
                    <a:pt x="122" y="46"/>
                    <a:pt x="122" y="25"/>
                    <a:pt x="101" y="1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 114">
              <a:extLst>
                <a:ext uri="{FF2B5EF4-FFF2-40B4-BE49-F238E27FC236}">
                  <a16:creationId xmlns:a16="http://schemas.microsoft.com/office/drawing/2014/main" id="{22192775-135A-19E6-2FB8-D005A99E94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1" y="568325"/>
              <a:ext cx="268288" cy="165100"/>
            </a:xfrm>
            <a:custGeom>
              <a:avLst/>
              <a:gdLst>
                <a:gd name="T0" fmla="*/ 347 w 353"/>
                <a:gd name="T1" fmla="*/ 48 h 216"/>
                <a:gd name="T2" fmla="*/ 292 w 353"/>
                <a:gd name="T3" fmla="*/ 3 h 216"/>
                <a:gd name="T4" fmla="*/ 270 w 353"/>
                <a:gd name="T5" fmla="*/ 3 h 216"/>
                <a:gd name="T6" fmla="*/ 6 w 353"/>
                <a:gd name="T7" fmla="*/ 156 h 216"/>
                <a:gd name="T8" fmla="*/ 6 w 353"/>
                <a:gd name="T9" fmla="*/ 168 h 216"/>
                <a:gd name="T10" fmla="*/ 61 w 353"/>
                <a:gd name="T11" fmla="*/ 213 h 216"/>
                <a:gd name="T12" fmla="*/ 83 w 353"/>
                <a:gd name="T13" fmla="*/ 213 h 216"/>
                <a:gd name="T14" fmla="*/ 347 w 353"/>
                <a:gd name="T15" fmla="*/ 60 h 216"/>
                <a:gd name="T16" fmla="*/ 347 w 353"/>
                <a:gd name="T17" fmla="*/ 48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3" h="216">
                  <a:moveTo>
                    <a:pt x="347" y="48"/>
                  </a:moveTo>
                  <a:lnTo>
                    <a:pt x="292" y="3"/>
                  </a:lnTo>
                  <a:cubicBezTo>
                    <a:pt x="286" y="0"/>
                    <a:pt x="276" y="0"/>
                    <a:pt x="270" y="3"/>
                  </a:cubicBezTo>
                  <a:lnTo>
                    <a:pt x="6" y="156"/>
                  </a:lnTo>
                  <a:cubicBezTo>
                    <a:pt x="0" y="159"/>
                    <a:pt x="2" y="164"/>
                    <a:pt x="6" y="168"/>
                  </a:cubicBezTo>
                  <a:lnTo>
                    <a:pt x="61" y="213"/>
                  </a:lnTo>
                  <a:cubicBezTo>
                    <a:pt x="67" y="216"/>
                    <a:pt x="77" y="216"/>
                    <a:pt x="83" y="213"/>
                  </a:cubicBezTo>
                  <a:lnTo>
                    <a:pt x="347" y="60"/>
                  </a:lnTo>
                  <a:cubicBezTo>
                    <a:pt x="353" y="57"/>
                    <a:pt x="352" y="51"/>
                    <a:pt x="347" y="4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7" name="Action Button: Go to End 46">
            <a:hlinkClick r:id="rId14" highlightClick="1"/>
            <a:extLst>
              <a:ext uri="{FF2B5EF4-FFF2-40B4-BE49-F238E27FC236}">
                <a16:creationId xmlns:a16="http://schemas.microsoft.com/office/drawing/2014/main" id="{9A4A8D39-A647-4B03-2127-9EF9A1BBF7BE}"/>
              </a:ext>
            </a:extLst>
          </p:cNvPr>
          <p:cNvSpPr/>
          <p:nvPr/>
        </p:nvSpPr>
        <p:spPr>
          <a:xfrm>
            <a:off x="543959" y="1377799"/>
            <a:ext cx="475404" cy="425767"/>
          </a:xfrm>
          <a:prstGeom prst="actionButtonEn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4BD6344B-05FE-6BD6-8C7C-263E21BCE5CF}"/>
              </a:ext>
            </a:extLst>
          </p:cNvPr>
          <p:cNvSpPr/>
          <p:nvPr/>
        </p:nvSpPr>
        <p:spPr>
          <a:xfrm>
            <a:off x="992229" y="1416462"/>
            <a:ext cx="31994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solidFill>
                  <a:schemeClr val="tx2"/>
                </a:solidFill>
              </a:rPr>
              <a:t>Go to the application form here</a:t>
            </a:r>
          </a:p>
        </p:txBody>
      </p:sp>
    </p:spTree>
    <p:extLst>
      <p:ext uri="{BB962C8B-B14F-4D97-AF65-F5344CB8AC3E}">
        <p14:creationId xmlns:p14="http://schemas.microsoft.com/office/powerpoint/2010/main" val="32533086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FFB8FB2-09D2-7923-7D73-7005CC308A6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sz="2400" dirty="0"/>
              <a:t>Why are you testing?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C8726A-627C-4AA2-C6C3-E66EED7CF8F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you tell us about the objectives and strategy for your new  activity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Could you explain how this is something new to your marketing plan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Outline the strategic thinking on why you are sending incremental mail.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77ED36C-FDDE-2C48-DF85-F64FE9D2F3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more detail the better!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133AD93-2A5F-658E-3F18-D529BB3AB26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870719" y="2016564"/>
            <a:ext cx="3309915" cy="1031875"/>
          </a:xfrm>
        </p:spPr>
        <p:txBody>
          <a:bodyPr/>
          <a:lstStyle/>
          <a:p>
            <a:r>
              <a:rPr lang="en-GB" sz="2400" dirty="0"/>
              <a:t>How are you measuring the results?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67E108F-0AAA-5611-1B7F-B56D7170C19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GB" sz="2400" dirty="0"/>
              <a:t>What are the details of the test?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2F642EF-4851-D2A8-508D-09D4BCD7C96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o are you targeting and why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at targeting strategy have you used e.g. profiling? existing customer base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at test cells are in your plan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Are you testing different creative routes and if so, why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If you have a test matrix please do include it.</a:t>
            </a:r>
          </a:p>
          <a:p>
            <a:endParaRPr lang="en-GB" sz="1600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85749DE-C148-7929-ECD1-C46089B8241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Please tell us the volumes you are testing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at are the main KPIs for this campaign – predicted response rate, sales and ROI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Is there anything else you want to achieve with the campaign?  Drive to digital, push to store or other softer brand measures, for example?</a:t>
            </a:r>
          </a:p>
          <a:p>
            <a:endParaRPr lang="en-GB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BF5C59-D957-7271-8BCA-21E19BB3517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2</a:t>
            </a:fld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97FCEF-501D-11A0-F66D-39C8A3E7E09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The more information you can provide will help us process your application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9A7742C-AC5C-A60A-867E-A4E3BBE7DDC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94596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26E622B8-6829-3174-C598-D039DF8A62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requently asked question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BB3B99E-118A-8E88-6223-62515E3008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42FC1F5-43A1-C00D-3B29-F44EB346C0F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3</a:t>
            </a:fld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CB50A88-E04A-7627-26E1-A38E7A78185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Full terms and conditions apply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E7E967C-46F6-D2AC-97EC-74F4DC528228}"/>
              </a:ext>
            </a:extLst>
          </p:cNvPr>
          <p:cNvSpPr/>
          <p:nvPr/>
        </p:nvSpPr>
        <p:spPr>
          <a:xfrm>
            <a:off x="1050534" y="2499688"/>
            <a:ext cx="3805200" cy="79092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Can I use postcard formats?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4CDF65E-0872-C40A-5A41-CCF1ED810017}"/>
              </a:ext>
            </a:extLst>
          </p:cNvPr>
          <p:cNvSpPr/>
          <p:nvPr/>
        </p:nvSpPr>
        <p:spPr>
          <a:xfrm>
            <a:off x="4855735" y="2499688"/>
            <a:ext cx="6527748" cy="79092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Traditional postcards are not eligible, please see the Machinable Postcard and One-Piece Mailer Guide for options to use with incentives at www.royalmailwholesale.com/incentive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408AC29-7B9B-0B87-6CA9-3AF952C432F1}"/>
              </a:ext>
            </a:extLst>
          </p:cNvPr>
          <p:cNvSpPr/>
          <p:nvPr/>
        </p:nvSpPr>
        <p:spPr>
          <a:xfrm>
            <a:off x="1050534" y="3286730"/>
            <a:ext cx="3805200" cy="790928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What will happen if I do not meet the minimum volume entry requirement?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4A244CE-7A8D-EF53-081E-DB51A0AF1942}"/>
              </a:ext>
            </a:extLst>
          </p:cNvPr>
          <p:cNvSpPr/>
          <p:nvPr/>
        </p:nvSpPr>
        <p:spPr>
          <a:xfrm>
            <a:off x="4855735" y="3286730"/>
            <a:ext cx="6527748" cy="790928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You will not qualify for any postage credit. 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C152723-5813-AB34-FD19-B3B369932435}"/>
              </a:ext>
            </a:extLst>
          </p:cNvPr>
          <p:cNvSpPr/>
          <p:nvPr/>
        </p:nvSpPr>
        <p:spPr>
          <a:xfrm>
            <a:off x="1050534" y="4084282"/>
            <a:ext cx="3805200" cy="790928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How long will my postage credit vouchers be valid for?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7C3EC50-50BB-DFB8-7788-FF2DF6EDD741}"/>
              </a:ext>
            </a:extLst>
          </p:cNvPr>
          <p:cNvSpPr/>
          <p:nvPr/>
        </p:nvSpPr>
        <p:spPr>
          <a:xfrm>
            <a:off x="4855735" y="4084282"/>
            <a:ext cx="6527748" cy="790928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Postage credit vouchers are valid for 12 months from date of issue. </a:t>
            </a:r>
          </a:p>
        </p:txBody>
      </p:sp>
      <p:grpSp>
        <p:nvGrpSpPr>
          <p:cNvPr id="24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971034A-9293-3AC5-F251-97205FA7C916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399636" y="2655207"/>
            <a:ext cx="541434" cy="542925"/>
            <a:chOff x="44" y="44"/>
            <a:chExt cx="363" cy="364"/>
          </a:xfrm>
          <a:solidFill>
            <a:schemeClr val="accent1"/>
          </a:solidFill>
        </p:grpSpPr>
        <p:sp>
          <p:nvSpPr>
            <p:cNvPr id="25" name="Help">
              <a:extLst>
                <a:ext uri="{FF2B5EF4-FFF2-40B4-BE49-F238E27FC236}">
                  <a16:creationId xmlns:a16="http://schemas.microsoft.com/office/drawing/2014/main" id="{31143841-5C00-E870-1D89-CFAEE610FEFB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Help">
              <a:extLst>
                <a:ext uri="{FF2B5EF4-FFF2-40B4-BE49-F238E27FC236}">
                  <a16:creationId xmlns:a16="http://schemas.microsoft.com/office/drawing/2014/main" id="{689E05CC-AB16-777F-2083-3D37EE72BCBB}"/>
                </a:ext>
              </a:extLst>
            </p:cNvPr>
            <p:cNvSpPr>
              <a:spLocks noEditPoints="1"/>
            </p:cNvSpPr>
            <p:nvPr>
              <p:custDataLst>
                <p:tags r:id="rId11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Help">
              <a:extLst>
                <a:ext uri="{FF2B5EF4-FFF2-40B4-BE49-F238E27FC236}">
                  <a16:creationId xmlns:a16="http://schemas.microsoft.com/office/drawing/2014/main" id="{61821D1A-F83C-DDB6-D547-2D721DB8EBFB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8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0043B40-B2ED-7E5B-22BE-C150FEB19C58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399636" y="3438226"/>
            <a:ext cx="541434" cy="542925"/>
            <a:chOff x="44" y="44"/>
            <a:chExt cx="363" cy="364"/>
          </a:xfrm>
          <a:solidFill>
            <a:schemeClr val="tx2"/>
          </a:solidFill>
        </p:grpSpPr>
        <p:sp>
          <p:nvSpPr>
            <p:cNvPr id="29" name="Help">
              <a:extLst>
                <a:ext uri="{FF2B5EF4-FFF2-40B4-BE49-F238E27FC236}">
                  <a16:creationId xmlns:a16="http://schemas.microsoft.com/office/drawing/2014/main" id="{70E3E9F8-00C2-F4BE-93F1-5F4BDBCF5D92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Help">
              <a:extLst>
                <a:ext uri="{FF2B5EF4-FFF2-40B4-BE49-F238E27FC236}">
                  <a16:creationId xmlns:a16="http://schemas.microsoft.com/office/drawing/2014/main" id="{E8114257-C533-05F1-E6E3-F6497C6E4C97}"/>
                </a:ext>
              </a:extLst>
            </p:cNvPr>
            <p:cNvSpPr>
              <a:spLocks noEditPoints="1"/>
            </p:cNvSpPr>
            <p:nvPr>
              <p:custDataLst>
                <p:tags r:id="rId8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Help">
              <a:extLst>
                <a:ext uri="{FF2B5EF4-FFF2-40B4-BE49-F238E27FC236}">
                  <a16:creationId xmlns:a16="http://schemas.microsoft.com/office/drawing/2014/main" id="{4FCD5282-34B5-B97D-8933-552BDB43A06B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2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1E67287-0CE3-4A34-30D9-77F7F1F4FC6C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399636" y="4221246"/>
            <a:ext cx="541434" cy="542925"/>
            <a:chOff x="44" y="44"/>
            <a:chExt cx="363" cy="364"/>
          </a:xfrm>
          <a:solidFill>
            <a:schemeClr val="tx1"/>
          </a:solidFill>
        </p:grpSpPr>
        <p:sp>
          <p:nvSpPr>
            <p:cNvPr id="33" name="Help">
              <a:extLst>
                <a:ext uri="{FF2B5EF4-FFF2-40B4-BE49-F238E27FC236}">
                  <a16:creationId xmlns:a16="http://schemas.microsoft.com/office/drawing/2014/main" id="{3118CAFD-7202-5408-5413-4B22D15897F7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Help">
              <a:extLst>
                <a:ext uri="{FF2B5EF4-FFF2-40B4-BE49-F238E27FC236}">
                  <a16:creationId xmlns:a16="http://schemas.microsoft.com/office/drawing/2014/main" id="{F14AC029-92B0-8DB3-B5AD-D9CFBB288D8A}"/>
                </a:ext>
              </a:extLst>
            </p:cNvPr>
            <p:cNvSpPr>
              <a:spLocks noEditPoints="1"/>
            </p:cNvSpPr>
            <p:nvPr>
              <p:custDataLst>
                <p:tags r:id="rId5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Help">
              <a:extLst>
                <a:ext uri="{FF2B5EF4-FFF2-40B4-BE49-F238E27FC236}">
                  <a16:creationId xmlns:a16="http://schemas.microsoft.com/office/drawing/2014/main" id="{5DD683EB-E957-59A6-5DF7-A9F13411FB13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91757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3FC2AE-4C71-2458-4884-54DD66F1A6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ANK YOU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FD77919-D05D-3144-D494-5D6CA0A0E54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44392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CE4241-7114-C396-7A35-A6C41FA01E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centive Content guidanc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811B2B-EB7A-AD76-8616-9AB0D163BC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088D5E-F56F-8B97-C73B-6B8D60B2E81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2</a:t>
            </a:fld>
            <a:endParaRPr lang="en-GB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4BC71C1-2743-8A35-E58F-8612E2F3F06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6940435" cy="4476750"/>
          </a:xfrm>
        </p:spPr>
        <p:txBody>
          <a:bodyPr/>
          <a:lstStyle/>
          <a:p>
            <a:pPr marL="0" indent="0">
              <a:buNone/>
            </a:pPr>
            <a:r>
              <a:rPr lang="en-GB" dirty="0"/>
              <a:t>The primary purpose of the mailing campaign must be related to summer promotional activity, for example:</a:t>
            </a:r>
          </a:p>
          <a:p>
            <a:pPr marL="0" indent="0">
              <a:buNone/>
            </a:pPr>
            <a:endParaRPr lang="en-GB" dirty="0"/>
          </a:p>
          <a:p>
            <a:r>
              <a:rPr lang="en-GB" dirty="0"/>
              <a:t>Summer retail goods like BBQ’s, garden furniture or outdoor accessories</a:t>
            </a:r>
          </a:p>
          <a:p>
            <a:r>
              <a:rPr lang="en-GB" dirty="0"/>
              <a:t>Summer health and beauty products like sunglasses, summer skin care, holiday toiletries (e.g. sun and insect protection) or beauty treatments and services</a:t>
            </a:r>
          </a:p>
          <a:p>
            <a:r>
              <a:rPr lang="en-GB" dirty="0"/>
              <a:t>Holiday finances like travel money or travel cards</a:t>
            </a:r>
          </a:p>
          <a:p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4687494-9845-CDC4-5440-1078CDB9F71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grpSp>
        <p:nvGrpSpPr>
          <p:cNvPr id="14" name="Scuba_divin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1CD39BDA-DE2D-4DEE-643A-D9761F3F476D}"/>
              </a:ext>
            </a:extLst>
          </p:cNvPr>
          <p:cNvGrpSpPr>
            <a:grpSpLocks noChangeAspect="1"/>
          </p:cNvGrpSpPr>
          <p:nvPr/>
        </p:nvGrpSpPr>
        <p:grpSpPr>
          <a:xfrm>
            <a:off x="7969225" y="1782458"/>
            <a:ext cx="2277769" cy="2893692"/>
            <a:chOff x="4175126" y="3776663"/>
            <a:chExt cx="311150" cy="395288"/>
          </a:xfrm>
          <a:solidFill>
            <a:schemeClr val="accent1"/>
          </a:solidFill>
        </p:grpSpPr>
        <p:sp>
          <p:nvSpPr>
            <p:cNvPr id="15" name="Freeform 1308">
              <a:extLst>
                <a:ext uri="{FF2B5EF4-FFF2-40B4-BE49-F238E27FC236}">
                  <a16:creationId xmlns:a16="http://schemas.microsoft.com/office/drawing/2014/main" id="{3E4FB7AD-5B0D-4F55-5D36-620FF84798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5126" y="3881438"/>
              <a:ext cx="163513" cy="168275"/>
            </a:xfrm>
            <a:custGeom>
              <a:avLst/>
              <a:gdLst>
                <a:gd name="T0" fmla="*/ 679 w 1829"/>
                <a:gd name="T1" fmla="*/ 1859 h 1859"/>
                <a:gd name="T2" fmla="*/ 345 w 1829"/>
                <a:gd name="T3" fmla="*/ 1739 h 1859"/>
                <a:gd name="T4" fmla="*/ 80 w 1829"/>
                <a:gd name="T5" fmla="*/ 775 h 1859"/>
                <a:gd name="T6" fmla="*/ 1022 w 1829"/>
                <a:gd name="T7" fmla="*/ 60 h 1859"/>
                <a:gd name="T8" fmla="*/ 1763 w 1829"/>
                <a:gd name="T9" fmla="*/ 0 h 1859"/>
                <a:gd name="T10" fmla="*/ 1829 w 1829"/>
                <a:gd name="T11" fmla="*/ 67 h 1859"/>
                <a:gd name="T12" fmla="*/ 1763 w 1829"/>
                <a:gd name="T13" fmla="*/ 134 h 1859"/>
                <a:gd name="T14" fmla="*/ 1762 w 1829"/>
                <a:gd name="T15" fmla="*/ 134 h 1859"/>
                <a:gd name="T16" fmla="*/ 1054 w 1829"/>
                <a:gd name="T17" fmla="*/ 189 h 1859"/>
                <a:gd name="T18" fmla="*/ 208 w 1829"/>
                <a:gd name="T19" fmla="*/ 811 h 1859"/>
                <a:gd name="T20" fmla="*/ 433 w 1829"/>
                <a:gd name="T21" fmla="*/ 1639 h 1859"/>
                <a:gd name="T22" fmla="*/ 728 w 1829"/>
                <a:gd name="T23" fmla="*/ 1723 h 1859"/>
                <a:gd name="T24" fmla="*/ 1231 w 1829"/>
                <a:gd name="T25" fmla="*/ 1446 h 1859"/>
                <a:gd name="T26" fmla="*/ 1305 w 1829"/>
                <a:gd name="T27" fmla="*/ 1346 h 1859"/>
                <a:gd name="T28" fmla="*/ 1739 w 1829"/>
                <a:gd name="T29" fmla="*/ 1031 h 1859"/>
                <a:gd name="T30" fmla="*/ 1804 w 1829"/>
                <a:gd name="T31" fmla="*/ 1099 h 1859"/>
                <a:gd name="T32" fmla="*/ 1736 w 1829"/>
                <a:gd name="T33" fmla="*/ 1164 h 1859"/>
                <a:gd name="T34" fmla="*/ 1731 w 1829"/>
                <a:gd name="T35" fmla="*/ 1164 h 1859"/>
                <a:gd name="T36" fmla="*/ 1413 w 1829"/>
                <a:gd name="T37" fmla="*/ 1424 h 1859"/>
                <a:gd name="T38" fmla="*/ 1337 w 1829"/>
                <a:gd name="T39" fmla="*/ 1528 h 1859"/>
                <a:gd name="T40" fmla="*/ 741 w 1829"/>
                <a:gd name="T41" fmla="*/ 1856 h 1859"/>
                <a:gd name="T42" fmla="*/ 679 w 1829"/>
                <a:gd name="T43" fmla="*/ 1859 h 18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829" h="1859">
                  <a:moveTo>
                    <a:pt x="679" y="1859"/>
                  </a:moveTo>
                  <a:cubicBezTo>
                    <a:pt x="549" y="1859"/>
                    <a:pt x="435" y="1818"/>
                    <a:pt x="345" y="1739"/>
                  </a:cubicBezTo>
                  <a:cubicBezTo>
                    <a:pt x="77" y="1504"/>
                    <a:pt x="0" y="1064"/>
                    <a:pt x="80" y="775"/>
                  </a:cubicBezTo>
                  <a:cubicBezTo>
                    <a:pt x="207" y="314"/>
                    <a:pt x="678" y="146"/>
                    <a:pt x="1022" y="60"/>
                  </a:cubicBezTo>
                  <a:cubicBezTo>
                    <a:pt x="1240" y="5"/>
                    <a:pt x="1549" y="0"/>
                    <a:pt x="1763" y="0"/>
                  </a:cubicBezTo>
                  <a:cubicBezTo>
                    <a:pt x="1800" y="1"/>
                    <a:pt x="1829" y="31"/>
                    <a:pt x="1829" y="67"/>
                  </a:cubicBezTo>
                  <a:cubicBezTo>
                    <a:pt x="1829" y="104"/>
                    <a:pt x="1799" y="134"/>
                    <a:pt x="1763" y="134"/>
                  </a:cubicBezTo>
                  <a:lnTo>
                    <a:pt x="1762" y="134"/>
                  </a:lnTo>
                  <a:cubicBezTo>
                    <a:pt x="1439" y="133"/>
                    <a:pt x="1207" y="151"/>
                    <a:pt x="1054" y="189"/>
                  </a:cubicBezTo>
                  <a:cubicBezTo>
                    <a:pt x="743" y="267"/>
                    <a:pt x="317" y="416"/>
                    <a:pt x="208" y="811"/>
                  </a:cubicBezTo>
                  <a:cubicBezTo>
                    <a:pt x="131" y="1091"/>
                    <a:pt x="232" y="1462"/>
                    <a:pt x="433" y="1639"/>
                  </a:cubicBezTo>
                  <a:cubicBezTo>
                    <a:pt x="528" y="1722"/>
                    <a:pt x="646" y="1731"/>
                    <a:pt x="728" y="1723"/>
                  </a:cubicBezTo>
                  <a:cubicBezTo>
                    <a:pt x="911" y="1706"/>
                    <a:pt x="1118" y="1592"/>
                    <a:pt x="1231" y="1446"/>
                  </a:cubicBezTo>
                  <a:cubicBezTo>
                    <a:pt x="1256" y="1414"/>
                    <a:pt x="1281" y="1380"/>
                    <a:pt x="1305" y="1346"/>
                  </a:cubicBezTo>
                  <a:cubicBezTo>
                    <a:pt x="1417" y="1189"/>
                    <a:pt x="1532" y="1026"/>
                    <a:pt x="1739" y="1031"/>
                  </a:cubicBezTo>
                  <a:cubicBezTo>
                    <a:pt x="1775" y="1032"/>
                    <a:pt x="1805" y="1062"/>
                    <a:pt x="1804" y="1099"/>
                  </a:cubicBezTo>
                  <a:cubicBezTo>
                    <a:pt x="1803" y="1136"/>
                    <a:pt x="1773" y="1165"/>
                    <a:pt x="1736" y="1164"/>
                  </a:cubicBezTo>
                  <a:lnTo>
                    <a:pt x="1731" y="1164"/>
                  </a:lnTo>
                  <a:cubicBezTo>
                    <a:pt x="1598" y="1164"/>
                    <a:pt x="1512" y="1285"/>
                    <a:pt x="1413" y="1424"/>
                  </a:cubicBezTo>
                  <a:cubicBezTo>
                    <a:pt x="1389" y="1458"/>
                    <a:pt x="1363" y="1494"/>
                    <a:pt x="1337" y="1528"/>
                  </a:cubicBezTo>
                  <a:cubicBezTo>
                    <a:pt x="1200" y="1703"/>
                    <a:pt x="961" y="1835"/>
                    <a:pt x="741" y="1856"/>
                  </a:cubicBezTo>
                  <a:cubicBezTo>
                    <a:pt x="720" y="1858"/>
                    <a:pt x="699" y="1859"/>
                    <a:pt x="679" y="1859"/>
                  </a:cubicBezTo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6" name="Freeform 1309">
              <a:extLst>
                <a:ext uri="{FF2B5EF4-FFF2-40B4-BE49-F238E27FC236}">
                  <a16:creationId xmlns:a16="http://schemas.microsoft.com/office/drawing/2014/main" id="{AF2A7B9E-EAEB-E38C-7C0E-21927D80131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4351" y="3881438"/>
              <a:ext cx="161925" cy="168275"/>
            </a:xfrm>
            <a:custGeom>
              <a:avLst/>
              <a:gdLst>
                <a:gd name="T0" fmla="*/ 1150 w 1810"/>
                <a:gd name="T1" fmla="*/ 1859 h 1859"/>
                <a:gd name="T2" fmla="*/ 1088 w 1810"/>
                <a:gd name="T3" fmla="*/ 1856 h 1859"/>
                <a:gd name="T4" fmla="*/ 492 w 1810"/>
                <a:gd name="T5" fmla="*/ 1528 h 1859"/>
                <a:gd name="T6" fmla="*/ 423 w 1810"/>
                <a:gd name="T7" fmla="*/ 1428 h 1859"/>
                <a:gd name="T8" fmla="*/ 115 w 1810"/>
                <a:gd name="T9" fmla="*/ 1159 h 1859"/>
                <a:gd name="T10" fmla="*/ 38 w 1810"/>
                <a:gd name="T11" fmla="*/ 1105 h 1859"/>
                <a:gd name="T12" fmla="*/ 91 w 1810"/>
                <a:gd name="T13" fmla="*/ 1028 h 1859"/>
                <a:gd name="T14" fmla="*/ 534 w 1810"/>
                <a:gd name="T15" fmla="*/ 1354 h 1859"/>
                <a:gd name="T16" fmla="*/ 598 w 1810"/>
                <a:gd name="T17" fmla="*/ 1446 h 1859"/>
                <a:gd name="T18" fmla="*/ 1101 w 1810"/>
                <a:gd name="T19" fmla="*/ 1723 h 1859"/>
                <a:gd name="T20" fmla="*/ 1396 w 1810"/>
                <a:gd name="T21" fmla="*/ 1639 h 1859"/>
                <a:gd name="T22" fmla="*/ 1600 w 1810"/>
                <a:gd name="T23" fmla="*/ 811 h 1859"/>
                <a:gd name="T24" fmla="*/ 775 w 1810"/>
                <a:gd name="T25" fmla="*/ 189 h 1859"/>
                <a:gd name="T26" fmla="*/ 67 w 1810"/>
                <a:gd name="T27" fmla="*/ 134 h 1859"/>
                <a:gd name="T28" fmla="*/ 67 w 1810"/>
                <a:gd name="T29" fmla="*/ 134 h 1859"/>
                <a:gd name="T30" fmla="*/ 0 w 1810"/>
                <a:gd name="T31" fmla="*/ 67 h 1859"/>
                <a:gd name="T32" fmla="*/ 66 w 1810"/>
                <a:gd name="T33" fmla="*/ 0 h 1859"/>
                <a:gd name="T34" fmla="*/ 807 w 1810"/>
                <a:gd name="T35" fmla="*/ 60 h 1859"/>
                <a:gd name="T36" fmla="*/ 1728 w 1810"/>
                <a:gd name="T37" fmla="*/ 775 h 1859"/>
                <a:gd name="T38" fmla="*/ 1484 w 1810"/>
                <a:gd name="T39" fmla="*/ 1739 h 1859"/>
                <a:gd name="T40" fmla="*/ 1150 w 1810"/>
                <a:gd name="T41" fmla="*/ 1859 h 18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810" h="1859">
                  <a:moveTo>
                    <a:pt x="1150" y="1859"/>
                  </a:moveTo>
                  <a:cubicBezTo>
                    <a:pt x="1130" y="1859"/>
                    <a:pt x="1109" y="1858"/>
                    <a:pt x="1088" y="1856"/>
                  </a:cubicBezTo>
                  <a:cubicBezTo>
                    <a:pt x="868" y="1835"/>
                    <a:pt x="629" y="1703"/>
                    <a:pt x="492" y="1528"/>
                  </a:cubicBezTo>
                  <a:cubicBezTo>
                    <a:pt x="470" y="1500"/>
                    <a:pt x="447" y="1465"/>
                    <a:pt x="423" y="1428"/>
                  </a:cubicBezTo>
                  <a:cubicBezTo>
                    <a:pt x="342" y="1305"/>
                    <a:pt x="232" y="1138"/>
                    <a:pt x="115" y="1159"/>
                  </a:cubicBezTo>
                  <a:cubicBezTo>
                    <a:pt x="79" y="1166"/>
                    <a:pt x="44" y="1142"/>
                    <a:pt x="38" y="1105"/>
                  </a:cubicBezTo>
                  <a:cubicBezTo>
                    <a:pt x="31" y="1069"/>
                    <a:pt x="55" y="1035"/>
                    <a:pt x="91" y="1028"/>
                  </a:cubicBezTo>
                  <a:cubicBezTo>
                    <a:pt x="294" y="991"/>
                    <a:pt x="433" y="1201"/>
                    <a:pt x="534" y="1354"/>
                  </a:cubicBezTo>
                  <a:cubicBezTo>
                    <a:pt x="557" y="1389"/>
                    <a:pt x="579" y="1422"/>
                    <a:pt x="598" y="1446"/>
                  </a:cubicBezTo>
                  <a:cubicBezTo>
                    <a:pt x="711" y="1592"/>
                    <a:pt x="918" y="1706"/>
                    <a:pt x="1101" y="1723"/>
                  </a:cubicBezTo>
                  <a:cubicBezTo>
                    <a:pt x="1183" y="1731"/>
                    <a:pt x="1301" y="1722"/>
                    <a:pt x="1396" y="1639"/>
                  </a:cubicBezTo>
                  <a:cubicBezTo>
                    <a:pt x="1611" y="1451"/>
                    <a:pt x="1669" y="1062"/>
                    <a:pt x="1600" y="811"/>
                  </a:cubicBezTo>
                  <a:cubicBezTo>
                    <a:pt x="1490" y="411"/>
                    <a:pt x="1076" y="265"/>
                    <a:pt x="775" y="189"/>
                  </a:cubicBezTo>
                  <a:cubicBezTo>
                    <a:pt x="622" y="151"/>
                    <a:pt x="390" y="133"/>
                    <a:pt x="67" y="134"/>
                  </a:cubicBezTo>
                  <a:lnTo>
                    <a:pt x="67" y="134"/>
                  </a:lnTo>
                  <a:cubicBezTo>
                    <a:pt x="30" y="134"/>
                    <a:pt x="0" y="104"/>
                    <a:pt x="0" y="67"/>
                  </a:cubicBezTo>
                  <a:cubicBezTo>
                    <a:pt x="0" y="31"/>
                    <a:pt x="30" y="1"/>
                    <a:pt x="66" y="0"/>
                  </a:cubicBezTo>
                  <a:cubicBezTo>
                    <a:pt x="280" y="0"/>
                    <a:pt x="589" y="5"/>
                    <a:pt x="807" y="60"/>
                  </a:cubicBezTo>
                  <a:cubicBezTo>
                    <a:pt x="1141" y="143"/>
                    <a:pt x="1600" y="308"/>
                    <a:pt x="1728" y="775"/>
                  </a:cubicBezTo>
                  <a:cubicBezTo>
                    <a:pt x="1810" y="1072"/>
                    <a:pt x="1741" y="1514"/>
                    <a:pt x="1484" y="1739"/>
                  </a:cubicBezTo>
                  <a:cubicBezTo>
                    <a:pt x="1395" y="1818"/>
                    <a:pt x="1280" y="1859"/>
                    <a:pt x="1150" y="1859"/>
                  </a:cubicBezTo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7" name="Freeform 1310">
              <a:extLst>
                <a:ext uri="{FF2B5EF4-FFF2-40B4-BE49-F238E27FC236}">
                  <a16:creationId xmlns:a16="http://schemas.microsoft.com/office/drawing/2014/main" id="{A80D503E-DFE6-34D9-6851-DD9DD0F347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0526" y="3952876"/>
              <a:ext cx="125413" cy="71438"/>
            </a:xfrm>
            <a:custGeom>
              <a:avLst/>
              <a:gdLst>
                <a:gd name="T0" fmla="*/ 461 w 1402"/>
                <a:gd name="T1" fmla="*/ 804 h 804"/>
                <a:gd name="T2" fmla="*/ 115 w 1402"/>
                <a:gd name="T3" fmla="*/ 612 h 804"/>
                <a:gd name="T4" fmla="*/ 25 w 1402"/>
                <a:gd name="T5" fmla="*/ 178 h 804"/>
                <a:gd name="T6" fmla="*/ 100 w 1402"/>
                <a:gd name="T7" fmla="*/ 122 h 804"/>
                <a:gd name="T8" fmla="*/ 157 w 1402"/>
                <a:gd name="T9" fmla="*/ 197 h 804"/>
                <a:gd name="T10" fmla="*/ 224 w 1402"/>
                <a:gd name="T11" fmla="*/ 534 h 804"/>
                <a:gd name="T12" fmla="*/ 597 w 1402"/>
                <a:gd name="T13" fmla="*/ 629 h 804"/>
                <a:gd name="T14" fmla="*/ 957 w 1402"/>
                <a:gd name="T15" fmla="*/ 279 h 804"/>
                <a:gd name="T16" fmla="*/ 1326 w 1402"/>
                <a:gd name="T17" fmla="*/ 3 h 804"/>
                <a:gd name="T18" fmla="*/ 1398 w 1402"/>
                <a:gd name="T19" fmla="*/ 64 h 804"/>
                <a:gd name="T20" fmla="*/ 1338 w 1402"/>
                <a:gd name="T21" fmla="*/ 136 h 804"/>
                <a:gd name="T22" fmla="*/ 1063 w 1402"/>
                <a:gd name="T23" fmla="*/ 360 h 804"/>
                <a:gd name="T24" fmla="*/ 669 w 1402"/>
                <a:gd name="T25" fmla="*/ 742 h 804"/>
                <a:gd name="T26" fmla="*/ 461 w 1402"/>
                <a:gd name="T27" fmla="*/ 804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02" h="804">
                  <a:moveTo>
                    <a:pt x="461" y="804"/>
                  </a:moveTo>
                  <a:cubicBezTo>
                    <a:pt x="333" y="804"/>
                    <a:pt x="206" y="737"/>
                    <a:pt x="115" y="612"/>
                  </a:cubicBezTo>
                  <a:cubicBezTo>
                    <a:pt x="32" y="496"/>
                    <a:pt x="0" y="342"/>
                    <a:pt x="25" y="178"/>
                  </a:cubicBezTo>
                  <a:cubicBezTo>
                    <a:pt x="30" y="141"/>
                    <a:pt x="64" y="116"/>
                    <a:pt x="100" y="122"/>
                  </a:cubicBezTo>
                  <a:cubicBezTo>
                    <a:pt x="137" y="127"/>
                    <a:pt x="162" y="161"/>
                    <a:pt x="157" y="197"/>
                  </a:cubicBezTo>
                  <a:cubicBezTo>
                    <a:pt x="137" y="327"/>
                    <a:pt x="161" y="447"/>
                    <a:pt x="224" y="534"/>
                  </a:cubicBezTo>
                  <a:cubicBezTo>
                    <a:pt x="306" y="648"/>
                    <a:pt x="453" y="722"/>
                    <a:pt x="597" y="629"/>
                  </a:cubicBezTo>
                  <a:cubicBezTo>
                    <a:pt x="720" y="551"/>
                    <a:pt x="838" y="436"/>
                    <a:pt x="957" y="279"/>
                  </a:cubicBezTo>
                  <a:cubicBezTo>
                    <a:pt x="1041" y="169"/>
                    <a:pt x="1155" y="18"/>
                    <a:pt x="1326" y="3"/>
                  </a:cubicBezTo>
                  <a:cubicBezTo>
                    <a:pt x="1363" y="0"/>
                    <a:pt x="1395" y="27"/>
                    <a:pt x="1398" y="64"/>
                  </a:cubicBezTo>
                  <a:cubicBezTo>
                    <a:pt x="1402" y="100"/>
                    <a:pt x="1374" y="133"/>
                    <a:pt x="1338" y="136"/>
                  </a:cubicBezTo>
                  <a:cubicBezTo>
                    <a:pt x="1226" y="146"/>
                    <a:pt x="1135" y="264"/>
                    <a:pt x="1063" y="360"/>
                  </a:cubicBezTo>
                  <a:cubicBezTo>
                    <a:pt x="934" y="529"/>
                    <a:pt x="805" y="654"/>
                    <a:pt x="669" y="742"/>
                  </a:cubicBezTo>
                  <a:cubicBezTo>
                    <a:pt x="603" y="784"/>
                    <a:pt x="532" y="804"/>
                    <a:pt x="461" y="80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8" name="Freeform 1311">
              <a:extLst>
                <a:ext uri="{FF2B5EF4-FFF2-40B4-BE49-F238E27FC236}">
                  <a16:creationId xmlns:a16="http://schemas.microsoft.com/office/drawing/2014/main" id="{234D36A1-2385-1D4B-2406-E7A5D1A93D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5288" y="3946526"/>
              <a:ext cx="14288" cy="12700"/>
            </a:xfrm>
            <a:custGeom>
              <a:avLst/>
              <a:gdLst>
                <a:gd name="T0" fmla="*/ 79 w 158"/>
                <a:gd name="T1" fmla="*/ 141 h 141"/>
                <a:gd name="T2" fmla="*/ 65 w 158"/>
                <a:gd name="T3" fmla="*/ 140 h 141"/>
                <a:gd name="T4" fmla="*/ 56 w 158"/>
                <a:gd name="T5" fmla="*/ 137 h 141"/>
                <a:gd name="T6" fmla="*/ 48 w 158"/>
                <a:gd name="T7" fmla="*/ 134 h 141"/>
                <a:gd name="T8" fmla="*/ 15 w 158"/>
                <a:gd name="T9" fmla="*/ 46 h 141"/>
                <a:gd name="T10" fmla="*/ 90 w 158"/>
                <a:gd name="T11" fmla="*/ 4 h 141"/>
                <a:gd name="T12" fmla="*/ 103 w 158"/>
                <a:gd name="T13" fmla="*/ 8 h 141"/>
                <a:gd name="T14" fmla="*/ 114 w 158"/>
                <a:gd name="T15" fmla="*/ 13 h 141"/>
                <a:gd name="T16" fmla="*/ 141 w 158"/>
                <a:gd name="T17" fmla="*/ 103 h 141"/>
                <a:gd name="T18" fmla="*/ 79 w 158"/>
                <a:gd name="T19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41">
                  <a:moveTo>
                    <a:pt x="79" y="141"/>
                  </a:moveTo>
                  <a:cubicBezTo>
                    <a:pt x="74" y="141"/>
                    <a:pt x="70" y="141"/>
                    <a:pt x="65" y="140"/>
                  </a:cubicBezTo>
                  <a:cubicBezTo>
                    <a:pt x="62" y="139"/>
                    <a:pt x="59" y="138"/>
                    <a:pt x="56" y="137"/>
                  </a:cubicBezTo>
                  <a:cubicBezTo>
                    <a:pt x="53" y="136"/>
                    <a:pt x="51" y="135"/>
                    <a:pt x="48" y="134"/>
                  </a:cubicBezTo>
                  <a:cubicBezTo>
                    <a:pt x="15" y="119"/>
                    <a:pt x="0" y="79"/>
                    <a:pt x="15" y="46"/>
                  </a:cubicBezTo>
                  <a:cubicBezTo>
                    <a:pt x="32" y="8"/>
                    <a:pt x="66" y="0"/>
                    <a:pt x="90" y="4"/>
                  </a:cubicBezTo>
                  <a:cubicBezTo>
                    <a:pt x="94" y="5"/>
                    <a:pt x="99" y="6"/>
                    <a:pt x="103" y="8"/>
                  </a:cubicBezTo>
                  <a:cubicBezTo>
                    <a:pt x="107" y="9"/>
                    <a:pt x="111" y="11"/>
                    <a:pt x="114" y="13"/>
                  </a:cubicBezTo>
                  <a:cubicBezTo>
                    <a:pt x="147" y="31"/>
                    <a:pt x="158" y="71"/>
                    <a:pt x="141" y="103"/>
                  </a:cubicBezTo>
                  <a:cubicBezTo>
                    <a:pt x="125" y="132"/>
                    <a:pt x="100" y="141"/>
                    <a:pt x="79" y="1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9" name="Freeform 1312">
              <a:extLst>
                <a:ext uri="{FF2B5EF4-FFF2-40B4-BE49-F238E27FC236}">
                  <a16:creationId xmlns:a16="http://schemas.microsoft.com/office/drawing/2014/main" id="{50C7E607-CA92-670C-9BCE-7C7503BF14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6401" y="3902076"/>
              <a:ext cx="120650" cy="44450"/>
            </a:xfrm>
            <a:custGeom>
              <a:avLst/>
              <a:gdLst>
                <a:gd name="T0" fmla="*/ 73 w 1342"/>
                <a:gd name="T1" fmla="*/ 490 h 490"/>
                <a:gd name="T2" fmla="*/ 27 w 1342"/>
                <a:gd name="T3" fmla="*/ 471 h 490"/>
                <a:gd name="T4" fmla="*/ 26 w 1342"/>
                <a:gd name="T5" fmla="*/ 377 h 490"/>
                <a:gd name="T6" fmla="*/ 387 w 1342"/>
                <a:gd name="T7" fmla="*/ 140 h 490"/>
                <a:gd name="T8" fmla="*/ 1275 w 1342"/>
                <a:gd name="T9" fmla="*/ 1 h 490"/>
                <a:gd name="T10" fmla="*/ 1341 w 1342"/>
                <a:gd name="T11" fmla="*/ 68 h 490"/>
                <a:gd name="T12" fmla="*/ 1275 w 1342"/>
                <a:gd name="T13" fmla="*/ 134 h 490"/>
                <a:gd name="T14" fmla="*/ 1265 w 1342"/>
                <a:gd name="T15" fmla="*/ 134 h 490"/>
                <a:gd name="T16" fmla="*/ 442 w 1342"/>
                <a:gd name="T17" fmla="*/ 261 h 490"/>
                <a:gd name="T18" fmla="*/ 121 w 1342"/>
                <a:gd name="T19" fmla="*/ 470 h 490"/>
                <a:gd name="T20" fmla="*/ 73 w 1342"/>
                <a:gd name="T21" fmla="*/ 49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42" h="490">
                  <a:moveTo>
                    <a:pt x="73" y="490"/>
                  </a:moveTo>
                  <a:cubicBezTo>
                    <a:pt x="57" y="490"/>
                    <a:pt x="40" y="484"/>
                    <a:pt x="27" y="471"/>
                  </a:cubicBezTo>
                  <a:cubicBezTo>
                    <a:pt x="0" y="445"/>
                    <a:pt x="0" y="403"/>
                    <a:pt x="26" y="377"/>
                  </a:cubicBezTo>
                  <a:cubicBezTo>
                    <a:pt x="112" y="288"/>
                    <a:pt x="230" y="211"/>
                    <a:pt x="387" y="140"/>
                  </a:cubicBezTo>
                  <a:cubicBezTo>
                    <a:pt x="591" y="47"/>
                    <a:pt x="890" y="0"/>
                    <a:pt x="1275" y="1"/>
                  </a:cubicBezTo>
                  <a:cubicBezTo>
                    <a:pt x="1312" y="1"/>
                    <a:pt x="1342" y="31"/>
                    <a:pt x="1341" y="68"/>
                  </a:cubicBezTo>
                  <a:cubicBezTo>
                    <a:pt x="1341" y="104"/>
                    <a:pt x="1312" y="134"/>
                    <a:pt x="1275" y="134"/>
                  </a:cubicBezTo>
                  <a:cubicBezTo>
                    <a:pt x="1271" y="134"/>
                    <a:pt x="1268" y="134"/>
                    <a:pt x="1265" y="134"/>
                  </a:cubicBezTo>
                  <a:cubicBezTo>
                    <a:pt x="816" y="134"/>
                    <a:pt x="570" y="203"/>
                    <a:pt x="442" y="261"/>
                  </a:cubicBezTo>
                  <a:cubicBezTo>
                    <a:pt x="301" y="325"/>
                    <a:pt x="196" y="394"/>
                    <a:pt x="121" y="470"/>
                  </a:cubicBezTo>
                  <a:cubicBezTo>
                    <a:pt x="108" y="483"/>
                    <a:pt x="91" y="490"/>
                    <a:pt x="73" y="49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0" name="Freeform 1313">
              <a:extLst>
                <a:ext uri="{FF2B5EF4-FFF2-40B4-BE49-F238E27FC236}">
                  <a16:creationId xmlns:a16="http://schemas.microsoft.com/office/drawing/2014/main" id="{A8E9E4E4-65D6-7EEF-582D-D56FD42B01B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6413" y="3902076"/>
              <a:ext cx="144463" cy="123825"/>
            </a:xfrm>
            <a:custGeom>
              <a:avLst/>
              <a:gdLst>
                <a:gd name="T0" fmla="*/ 1171 w 1624"/>
                <a:gd name="T1" fmla="*/ 1373 h 1373"/>
                <a:gd name="T2" fmla="*/ 946 w 1624"/>
                <a:gd name="T3" fmla="*/ 1302 h 1373"/>
                <a:gd name="T4" fmla="*/ 552 w 1624"/>
                <a:gd name="T5" fmla="*/ 892 h 1373"/>
                <a:gd name="T6" fmla="*/ 303 w 1624"/>
                <a:gd name="T7" fmla="*/ 700 h 1373"/>
                <a:gd name="T8" fmla="*/ 79 w 1624"/>
                <a:gd name="T9" fmla="*/ 693 h 1373"/>
                <a:gd name="T10" fmla="*/ 5 w 1624"/>
                <a:gd name="T11" fmla="*/ 635 h 1373"/>
                <a:gd name="T12" fmla="*/ 63 w 1624"/>
                <a:gd name="T13" fmla="*/ 561 h 1373"/>
                <a:gd name="T14" fmla="*/ 352 w 1624"/>
                <a:gd name="T15" fmla="*/ 576 h 1373"/>
                <a:gd name="T16" fmla="*/ 658 w 1624"/>
                <a:gd name="T17" fmla="*/ 812 h 1373"/>
                <a:gd name="T18" fmla="*/ 1018 w 1624"/>
                <a:gd name="T19" fmla="*/ 1189 h 1373"/>
                <a:gd name="T20" fmla="*/ 1372 w 1624"/>
                <a:gd name="T21" fmla="*/ 1123 h 1373"/>
                <a:gd name="T22" fmla="*/ 1432 w 1624"/>
                <a:gd name="T23" fmla="*/ 647 h 1373"/>
                <a:gd name="T24" fmla="*/ 998 w 1624"/>
                <a:gd name="T25" fmla="*/ 260 h 1373"/>
                <a:gd name="T26" fmla="*/ 175 w 1624"/>
                <a:gd name="T27" fmla="*/ 133 h 1373"/>
                <a:gd name="T28" fmla="*/ 165 w 1624"/>
                <a:gd name="T29" fmla="*/ 133 h 1373"/>
                <a:gd name="T30" fmla="*/ 99 w 1624"/>
                <a:gd name="T31" fmla="*/ 67 h 1373"/>
                <a:gd name="T32" fmla="*/ 165 w 1624"/>
                <a:gd name="T33" fmla="*/ 0 h 1373"/>
                <a:gd name="T34" fmla="*/ 175 w 1624"/>
                <a:gd name="T35" fmla="*/ 0 h 1373"/>
                <a:gd name="T36" fmla="*/ 1053 w 1624"/>
                <a:gd name="T37" fmla="*/ 139 h 1373"/>
                <a:gd name="T38" fmla="*/ 1559 w 1624"/>
                <a:gd name="T39" fmla="*/ 605 h 1373"/>
                <a:gd name="T40" fmla="*/ 1480 w 1624"/>
                <a:gd name="T41" fmla="*/ 1201 h 1373"/>
                <a:gd name="T42" fmla="*/ 1171 w 1624"/>
                <a:gd name="T43" fmla="*/ 1373 h 1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24" h="1373">
                  <a:moveTo>
                    <a:pt x="1171" y="1373"/>
                  </a:moveTo>
                  <a:cubicBezTo>
                    <a:pt x="1097" y="1373"/>
                    <a:pt x="1020" y="1349"/>
                    <a:pt x="946" y="1302"/>
                  </a:cubicBezTo>
                  <a:cubicBezTo>
                    <a:pt x="784" y="1198"/>
                    <a:pt x="650" y="1021"/>
                    <a:pt x="552" y="892"/>
                  </a:cubicBezTo>
                  <a:cubicBezTo>
                    <a:pt x="481" y="798"/>
                    <a:pt x="406" y="741"/>
                    <a:pt x="303" y="700"/>
                  </a:cubicBezTo>
                  <a:cubicBezTo>
                    <a:pt x="264" y="685"/>
                    <a:pt x="153" y="684"/>
                    <a:pt x="79" y="693"/>
                  </a:cubicBezTo>
                  <a:cubicBezTo>
                    <a:pt x="42" y="698"/>
                    <a:pt x="9" y="672"/>
                    <a:pt x="5" y="635"/>
                  </a:cubicBezTo>
                  <a:cubicBezTo>
                    <a:pt x="0" y="599"/>
                    <a:pt x="26" y="566"/>
                    <a:pt x="63" y="561"/>
                  </a:cubicBezTo>
                  <a:cubicBezTo>
                    <a:pt x="116" y="554"/>
                    <a:pt x="271" y="544"/>
                    <a:pt x="352" y="576"/>
                  </a:cubicBezTo>
                  <a:cubicBezTo>
                    <a:pt x="478" y="626"/>
                    <a:pt x="572" y="698"/>
                    <a:pt x="658" y="812"/>
                  </a:cubicBezTo>
                  <a:cubicBezTo>
                    <a:pt x="750" y="933"/>
                    <a:pt x="876" y="1098"/>
                    <a:pt x="1018" y="1189"/>
                  </a:cubicBezTo>
                  <a:cubicBezTo>
                    <a:pt x="1151" y="1275"/>
                    <a:pt x="1280" y="1251"/>
                    <a:pt x="1372" y="1123"/>
                  </a:cubicBezTo>
                  <a:cubicBezTo>
                    <a:pt x="1470" y="987"/>
                    <a:pt x="1477" y="780"/>
                    <a:pt x="1432" y="647"/>
                  </a:cubicBezTo>
                  <a:cubicBezTo>
                    <a:pt x="1382" y="497"/>
                    <a:pt x="1240" y="370"/>
                    <a:pt x="998" y="260"/>
                  </a:cubicBezTo>
                  <a:cubicBezTo>
                    <a:pt x="870" y="202"/>
                    <a:pt x="624" y="133"/>
                    <a:pt x="175" y="133"/>
                  </a:cubicBezTo>
                  <a:lnTo>
                    <a:pt x="165" y="133"/>
                  </a:lnTo>
                  <a:cubicBezTo>
                    <a:pt x="129" y="133"/>
                    <a:pt x="99" y="103"/>
                    <a:pt x="99" y="67"/>
                  </a:cubicBezTo>
                  <a:cubicBezTo>
                    <a:pt x="99" y="30"/>
                    <a:pt x="128" y="0"/>
                    <a:pt x="165" y="0"/>
                  </a:cubicBezTo>
                  <a:lnTo>
                    <a:pt x="175" y="0"/>
                  </a:lnTo>
                  <a:cubicBezTo>
                    <a:pt x="555" y="0"/>
                    <a:pt x="851" y="46"/>
                    <a:pt x="1053" y="139"/>
                  </a:cubicBezTo>
                  <a:cubicBezTo>
                    <a:pt x="1331" y="265"/>
                    <a:pt x="1496" y="417"/>
                    <a:pt x="1559" y="605"/>
                  </a:cubicBezTo>
                  <a:cubicBezTo>
                    <a:pt x="1624" y="801"/>
                    <a:pt x="1592" y="1047"/>
                    <a:pt x="1480" y="1201"/>
                  </a:cubicBezTo>
                  <a:cubicBezTo>
                    <a:pt x="1399" y="1314"/>
                    <a:pt x="1289" y="1373"/>
                    <a:pt x="1171" y="137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1" name="Freeform 1314">
              <a:extLst>
                <a:ext uri="{FF2B5EF4-FFF2-40B4-BE49-F238E27FC236}">
                  <a16:creationId xmlns:a16="http://schemas.microsoft.com/office/drawing/2014/main" id="{6DB44E65-C06D-3D55-5ED0-B5251A1BEBE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0076" y="3776663"/>
              <a:ext cx="39688" cy="119063"/>
            </a:xfrm>
            <a:custGeom>
              <a:avLst/>
              <a:gdLst>
                <a:gd name="T0" fmla="*/ 377 w 446"/>
                <a:gd name="T1" fmla="*/ 1327 h 1327"/>
                <a:gd name="T2" fmla="*/ 377 w 446"/>
                <a:gd name="T3" fmla="*/ 1327 h 1327"/>
                <a:gd name="T4" fmla="*/ 311 w 446"/>
                <a:gd name="T5" fmla="*/ 1260 h 1327"/>
                <a:gd name="T6" fmla="*/ 305 w 446"/>
                <a:gd name="T7" fmla="*/ 336 h 1327"/>
                <a:gd name="T8" fmla="*/ 212 w 446"/>
                <a:gd name="T9" fmla="*/ 133 h 1327"/>
                <a:gd name="T10" fmla="*/ 177 w 446"/>
                <a:gd name="T11" fmla="*/ 147 h 1327"/>
                <a:gd name="T12" fmla="*/ 135 w 446"/>
                <a:gd name="T13" fmla="*/ 351 h 1327"/>
                <a:gd name="T14" fmla="*/ 136 w 446"/>
                <a:gd name="T15" fmla="*/ 639 h 1327"/>
                <a:gd name="T16" fmla="*/ 136 w 446"/>
                <a:gd name="T17" fmla="*/ 1139 h 1327"/>
                <a:gd name="T18" fmla="*/ 70 w 446"/>
                <a:gd name="T19" fmla="*/ 1205 h 1327"/>
                <a:gd name="T20" fmla="*/ 3 w 446"/>
                <a:gd name="T21" fmla="*/ 1139 h 1327"/>
                <a:gd name="T22" fmla="*/ 3 w 446"/>
                <a:gd name="T23" fmla="*/ 639 h 1327"/>
                <a:gd name="T24" fmla="*/ 1 w 446"/>
                <a:gd name="T25" fmla="*/ 353 h 1327"/>
                <a:gd name="T26" fmla="*/ 82 w 446"/>
                <a:gd name="T27" fmla="*/ 53 h 1327"/>
                <a:gd name="T28" fmla="*/ 212 w 446"/>
                <a:gd name="T29" fmla="*/ 0 h 1327"/>
                <a:gd name="T30" fmla="*/ 438 w 446"/>
                <a:gd name="T31" fmla="*/ 333 h 1327"/>
                <a:gd name="T32" fmla="*/ 444 w 446"/>
                <a:gd name="T33" fmla="*/ 1260 h 1327"/>
                <a:gd name="T34" fmla="*/ 377 w 446"/>
                <a:gd name="T35" fmla="*/ 1327 h 1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46" h="1327">
                  <a:moveTo>
                    <a:pt x="377" y="1327"/>
                  </a:moveTo>
                  <a:lnTo>
                    <a:pt x="377" y="1327"/>
                  </a:lnTo>
                  <a:cubicBezTo>
                    <a:pt x="340" y="1327"/>
                    <a:pt x="311" y="1297"/>
                    <a:pt x="311" y="1260"/>
                  </a:cubicBezTo>
                  <a:cubicBezTo>
                    <a:pt x="312" y="970"/>
                    <a:pt x="313" y="642"/>
                    <a:pt x="305" y="336"/>
                  </a:cubicBezTo>
                  <a:cubicBezTo>
                    <a:pt x="299" y="133"/>
                    <a:pt x="261" y="133"/>
                    <a:pt x="212" y="133"/>
                  </a:cubicBezTo>
                  <a:cubicBezTo>
                    <a:pt x="197" y="133"/>
                    <a:pt x="186" y="137"/>
                    <a:pt x="177" y="147"/>
                  </a:cubicBezTo>
                  <a:cubicBezTo>
                    <a:pt x="157" y="167"/>
                    <a:pt x="133" y="219"/>
                    <a:pt x="135" y="351"/>
                  </a:cubicBezTo>
                  <a:cubicBezTo>
                    <a:pt x="136" y="460"/>
                    <a:pt x="136" y="564"/>
                    <a:pt x="136" y="639"/>
                  </a:cubicBezTo>
                  <a:lnTo>
                    <a:pt x="136" y="1139"/>
                  </a:lnTo>
                  <a:cubicBezTo>
                    <a:pt x="136" y="1175"/>
                    <a:pt x="106" y="1205"/>
                    <a:pt x="70" y="1205"/>
                  </a:cubicBezTo>
                  <a:cubicBezTo>
                    <a:pt x="33" y="1205"/>
                    <a:pt x="3" y="1175"/>
                    <a:pt x="3" y="1139"/>
                  </a:cubicBezTo>
                  <a:lnTo>
                    <a:pt x="3" y="639"/>
                  </a:lnTo>
                  <a:cubicBezTo>
                    <a:pt x="3" y="564"/>
                    <a:pt x="3" y="461"/>
                    <a:pt x="1" y="353"/>
                  </a:cubicBezTo>
                  <a:cubicBezTo>
                    <a:pt x="0" y="260"/>
                    <a:pt x="7" y="129"/>
                    <a:pt x="82" y="53"/>
                  </a:cubicBezTo>
                  <a:cubicBezTo>
                    <a:pt x="116" y="18"/>
                    <a:pt x="161" y="0"/>
                    <a:pt x="212" y="0"/>
                  </a:cubicBezTo>
                  <a:cubicBezTo>
                    <a:pt x="412" y="0"/>
                    <a:pt x="434" y="172"/>
                    <a:pt x="438" y="333"/>
                  </a:cubicBezTo>
                  <a:cubicBezTo>
                    <a:pt x="446" y="640"/>
                    <a:pt x="445" y="970"/>
                    <a:pt x="444" y="1260"/>
                  </a:cubicBezTo>
                  <a:cubicBezTo>
                    <a:pt x="444" y="1297"/>
                    <a:pt x="414" y="1327"/>
                    <a:pt x="377" y="1327"/>
                  </a:cubicBezTo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2" name="Freeform 1315">
              <a:extLst>
                <a:ext uri="{FF2B5EF4-FFF2-40B4-BE49-F238E27FC236}">
                  <a16:creationId xmlns:a16="http://schemas.microsoft.com/office/drawing/2014/main" id="{35183ECB-7A4D-CA25-88E6-BE77894DD4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5001" y="4057651"/>
              <a:ext cx="12700" cy="30163"/>
            </a:xfrm>
            <a:custGeom>
              <a:avLst/>
              <a:gdLst>
                <a:gd name="T0" fmla="*/ 70 w 140"/>
                <a:gd name="T1" fmla="*/ 333 h 333"/>
                <a:gd name="T2" fmla="*/ 67 w 140"/>
                <a:gd name="T3" fmla="*/ 332 h 333"/>
                <a:gd name="T4" fmla="*/ 3 w 140"/>
                <a:gd name="T5" fmla="*/ 264 h 333"/>
                <a:gd name="T6" fmla="*/ 2 w 140"/>
                <a:gd name="T7" fmla="*/ 72 h 333"/>
                <a:gd name="T8" fmla="*/ 65 w 140"/>
                <a:gd name="T9" fmla="*/ 2 h 333"/>
                <a:gd name="T10" fmla="*/ 136 w 140"/>
                <a:gd name="T11" fmla="*/ 65 h 333"/>
                <a:gd name="T12" fmla="*/ 136 w 140"/>
                <a:gd name="T13" fmla="*/ 268 h 333"/>
                <a:gd name="T14" fmla="*/ 70 w 140"/>
                <a:gd name="T15" fmla="*/ 333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0" h="333">
                  <a:moveTo>
                    <a:pt x="70" y="333"/>
                  </a:moveTo>
                  <a:lnTo>
                    <a:pt x="67" y="332"/>
                  </a:lnTo>
                  <a:cubicBezTo>
                    <a:pt x="31" y="331"/>
                    <a:pt x="2" y="301"/>
                    <a:pt x="3" y="264"/>
                  </a:cubicBezTo>
                  <a:cubicBezTo>
                    <a:pt x="7" y="150"/>
                    <a:pt x="2" y="73"/>
                    <a:pt x="2" y="72"/>
                  </a:cubicBezTo>
                  <a:cubicBezTo>
                    <a:pt x="0" y="36"/>
                    <a:pt x="29" y="4"/>
                    <a:pt x="65" y="2"/>
                  </a:cubicBezTo>
                  <a:cubicBezTo>
                    <a:pt x="102" y="0"/>
                    <a:pt x="134" y="28"/>
                    <a:pt x="136" y="65"/>
                  </a:cubicBezTo>
                  <a:cubicBezTo>
                    <a:pt x="136" y="68"/>
                    <a:pt x="140" y="148"/>
                    <a:pt x="136" y="268"/>
                  </a:cubicBezTo>
                  <a:cubicBezTo>
                    <a:pt x="135" y="304"/>
                    <a:pt x="105" y="333"/>
                    <a:pt x="70" y="333"/>
                  </a:cubicBezTo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3" name="Freeform 1316">
              <a:extLst>
                <a:ext uri="{FF2B5EF4-FFF2-40B4-BE49-F238E27FC236}">
                  <a16:creationId xmlns:a16="http://schemas.microsoft.com/office/drawing/2014/main" id="{D6154754-7594-C898-84CD-BAE91FD685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3713" y="4078288"/>
              <a:ext cx="153988" cy="93663"/>
            </a:xfrm>
            <a:custGeom>
              <a:avLst/>
              <a:gdLst>
                <a:gd name="T0" fmla="*/ 827 w 1699"/>
                <a:gd name="T1" fmla="*/ 1032 h 1032"/>
                <a:gd name="T2" fmla="*/ 514 w 1699"/>
                <a:gd name="T3" fmla="*/ 965 h 1032"/>
                <a:gd name="T4" fmla="*/ 57 w 1699"/>
                <a:gd name="T5" fmla="*/ 164 h 1032"/>
                <a:gd name="T6" fmla="*/ 121 w 1699"/>
                <a:gd name="T7" fmla="*/ 105 h 1032"/>
                <a:gd name="T8" fmla="*/ 394 w 1699"/>
                <a:gd name="T9" fmla="*/ 101 h 1032"/>
                <a:gd name="T10" fmla="*/ 460 w 1699"/>
                <a:gd name="T11" fmla="*/ 167 h 1032"/>
                <a:gd name="T12" fmla="*/ 699 w 1699"/>
                <a:gd name="T13" fmla="*/ 549 h 1032"/>
                <a:gd name="T14" fmla="*/ 727 w 1699"/>
                <a:gd name="T15" fmla="*/ 639 h 1032"/>
                <a:gd name="T16" fmla="*/ 637 w 1699"/>
                <a:gd name="T17" fmla="*/ 667 h 1032"/>
                <a:gd name="T18" fmla="*/ 333 w 1699"/>
                <a:gd name="T19" fmla="*/ 234 h 1032"/>
                <a:gd name="T20" fmla="*/ 188 w 1699"/>
                <a:gd name="T21" fmla="*/ 236 h 1032"/>
                <a:gd name="T22" fmla="*/ 577 w 1699"/>
                <a:gd name="T23" fmla="*/ 848 h 1032"/>
                <a:gd name="T24" fmla="*/ 1345 w 1699"/>
                <a:gd name="T25" fmla="*/ 718 h 1032"/>
                <a:gd name="T26" fmla="*/ 1558 w 1699"/>
                <a:gd name="T27" fmla="*/ 159 h 1032"/>
                <a:gd name="T28" fmla="*/ 1564 w 1699"/>
                <a:gd name="T29" fmla="*/ 65 h 1032"/>
                <a:gd name="T30" fmla="*/ 1634 w 1699"/>
                <a:gd name="T31" fmla="*/ 1 h 1032"/>
                <a:gd name="T32" fmla="*/ 1697 w 1699"/>
                <a:gd name="T33" fmla="*/ 71 h 1032"/>
                <a:gd name="T34" fmla="*/ 1691 w 1699"/>
                <a:gd name="T35" fmla="*/ 170 h 1032"/>
                <a:gd name="T36" fmla="*/ 1442 w 1699"/>
                <a:gd name="T37" fmla="*/ 809 h 1032"/>
                <a:gd name="T38" fmla="*/ 827 w 1699"/>
                <a:gd name="T39" fmla="*/ 1032 h 10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99" h="1032">
                  <a:moveTo>
                    <a:pt x="827" y="1032"/>
                  </a:moveTo>
                  <a:cubicBezTo>
                    <a:pt x="710" y="1032"/>
                    <a:pt x="599" y="1011"/>
                    <a:pt x="514" y="965"/>
                  </a:cubicBezTo>
                  <a:cubicBezTo>
                    <a:pt x="0" y="687"/>
                    <a:pt x="55" y="185"/>
                    <a:pt x="57" y="164"/>
                  </a:cubicBezTo>
                  <a:cubicBezTo>
                    <a:pt x="61" y="131"/>
                    <a:pt x="88" y="106"/>
                    <a:pt x="121" y="105"/>
                  </a:cubicBezTo>
                  <a:cubicBezTo>
                    <a:pt x="281" y="99"/>
                    <a:pt x="390" y="101"/>
                    <a:pt x="394" y="101"/>
                  </a:cubicBezTo>
                  <a:cubicBezTo>
                    <a:pt x="431" y="101"/>
                    <a:pt x="460" y="131"/>
                    <a:pt x="460" y="167"/>
                  </a:cubicBezTo>
                  <a:cubicBezTo>
                    <a:pt x="460" y="177"/>
                    <a:pt x="465" y="426"/>
                    <a:pt x="699" y="549"/>
                  </a:cubicBezTo>
                  <a:cubicBezTo>
                    <a:pt x="731" y="566"/>
                    <a:pt x="744" y="606"/>
                    <a:pt x="727" y="639"/>
                  </a:cubicBezTo>
                  <a:cubicBezTo>
                    <a:pt x="710" y="672"/>
                    <a:pt x="669" y="684"/>
                    <a:pt x="637" y="667"/>
                  </a:cubicBezTo>
                  <a:cubicBezTo>
                    <a:pt x="411" y="548"/>
                    <a:pt x="350" y="340"/>
                    <a:pt x="333" y="234"/>
                  </a:cubicBezTo>
                  <a:cubicBezTo>
                    <a:pt x="297" y="234"/>
                    <a:pt x="247" y="235"/>
                    <a:pt x="188" y="236"/>
                  </a:cubicBezTo>
                  <a:cubicBezTo>
                    <a:pt x="190" y="361"/>
                    <a:pt x="234" y="662"/>
                    <a:pt x="577" y="848"/>
                  </a:cubicBezTo>
                  <a:cubicBezTo>
                    <a:pt x="778" y="956"/>
                    <a:pt x="1187" y="887"/>
                    <a:pt x="1345" y="718"/>
                  </a:cubicBezTo>
                  <a:cubicBezTo>
                    <a:pt x="1471" y="583"/>
                    <a:pt x="1539" y="406"/>
                    <a:pt x="1558" y="159"/>
                  </a:cubicBezTo>
                  <a:cubicBezTo>
                    <a:pt x="1561" y="127"/>
                    <a:pt x="1563" y="96"/>
                    <a:pt x="1564" y="65"/>
                  </a:cubicBezTo>
                  <a:cubicBezTo>
                    <a:pt x="1566" y="28"/>
                    <a:pt x="1597" y="0"/>
                    <a:pt x="1634" y="1"/>
                  </a:cubicBezTo>
                  <a:cubicBezTo>
                    <a:pt x="1671" y="3"/>
                    <a:pt x="1699" y="34"/>
                    <a:pt x="1697" y="71"/>
                  </a:cubicBezTo>
                  <a:cubicBezTo>
                    <a:pt x="1696" y="103"/>
                    <a:pt x="1694" y="137"/>
                    <a:pt x="1691" y="170"/>
                  </a:cubicBezTo>
                  <a:cubicBezTo>
                    <a:pt x="1669" y="444"/>
                    <a:pt x="1588" y="653"/>
                    <a:pt x="1442" y="809"/>
                  </a:cubicBezTo>
                  <a:cubicBezTo>
                    <a:pt x="1311" y="950"/>
                    <a:pt x="1057" y="1032"/>
                    <a:pt x="827" y="1032"/>
                  </a:cubicBezTo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4" name="Freeform 1317">
              <a:extLst>
                <a:ext uri="{FF2B5EF4-FFF2-40B4-BE49-F238E27FC236}">
                  <a16:creationId xmlns:a16="http://schemas.microsoft.com/office/drawing/2014/main" id="{1F1453F7-D0FB-BCF5-2964-D68FCB1D0FA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1976" y="4132263"/>
              <a:ext cx="12700" cy="12700"/>
            </a:xfrm>
            <a:custGeom>
              <a:avLst/>
              <a:gdLst>
                <a:gd name="T0" fmla="*/ 75 w 144"/>
                <a:gd name="T1" fmla="*/ 142 h 142"/>
                <a:gd name="T2" fmla="*/ 64 w 144"/>
                <a:gd name="T3" fmla="*/ 141 h 142"/>
                <a:gd name="T4" fmla="*/ 26 w 144"/>
                <a:gd name="T5" fmla="*/ 122 h 142"/>
                <a:gd name="T6" fmla="*/ 5 w 144"/>
                <a:gd name="T7" fmla="*/ 60 h 142"/>
                <a:gd name="T8" fmla="*/ 83 w 144"/>
                <a:gd name="T9" fmla="*/ 7 h 142"/>
                <a:gd name="T10" fmla="*/ 118 w 144"/>
                <a:gd name="T11" fmla="*/ 25 h 142"/>
                <a:gd name="T12" fmla="*/ 140 w 144"/>
                <a:gd name="T13" fmla="*/ 86 h 142"/>
                <a:gd name="T14" fmla="*/ 75 w 14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4" h="142">
                  <a:moveTo>
                    <a:pt x="75" y="142"/>
                  </a:moveTo>
                  <a:cubicBezTo>
                    <a:pt x="71" y="142"/>
                    <a:pt x="67" y="142"/>
                    <a:pt x="64" y="141"/>
                  </a:cubicBezTo>
                  <a:cubicBezTo>
                    <a:pt x="46" y="138"/>
                    <a:pt x="34" y="131"/>
                    <a:pt x="26" y="122"/>
                  </a:cubicBezTo>
                  <a:cubicBezTo>
                    <a:pt x="9" y="107"/>
                    <a:pt x="0" y="84"/>
                    <a:pt x="5" y="60"/>
                  </a:cubicBezTo>
                  <a:cubicBezTo>
                    <a:pt x="12" y="24"/>
                    <a:pt x="47" y="0"/>
                    <a:pt x="83" y="7"/>
                  </a:cubicBezTo>
                  <a:cubicBezTo>
                    <a:pt x="99" y="10"/>
                    <a:pt x="110" y="18"/>
                    <a:pt x="118" y="25"/>
                  </a:cubicBezTo>
                  <a:cubicBezTo>
                    <a:pt x="135" y="40"/>
                    <a:pt x="144" y="62"/>
                    <a:pt x="140" y="86"/>
                  </a:cubicBezTo>
                  <a:cubicBezTo>
                    <a:pt x="135" y="119"/>
                    <a:pt x="107" y="142"/>
                    <a:pt x="75" y="142"/>
                  </a:cubicBezTo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5" name="Freeform 1318">
              <a:extLst>
                <a:ext uri="{FF2B5EF4-FFF2-40B4-BE49-F238E27FC236}">
                  <a16:creationId xmlns:a16="http://schemas.microsoft.com/office/drawing/2014/main" id="{C04494B3-949C-CF77-BFB4-57D0F9E8DB7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4676" y="4075113"/>
              <a:ext cx="44450" cy="68263"/>
            </a:xfrm>
            <a:custGeom>
              <a:avLst/>
              <a:gdLst>
                <a:gd name="T0" fmla="*/ 71 w 487"/>
                <a:gd name="T1" fmla="*/ 758 h 758"/>
                <a:gd name="T2" fmla="*/ 6 w 487"/>
                <a:gd name="T3" fmla="*/ 701 h 758"/>
                <a:gd name="T4" fmla="*/ 61 w 487"/>
                <a:gd name="T5" fmla="*/ 625 h 758"/>
                <a:gd name="T6" fmla="*/ 146 w 487"/>
                <a:gd name="T7" fmla="*/ 600 h 758"/>
                <a:gd name="T8" fmla="*/ 354 w 487"/>
                <a:gd name="T9" fmla="*/ 67 h 758"/>
                <a:gd name="T10" fmla="*/ 420 w 487"/>
                <a:gd name="T11" fmla="*/ 0 h 758"/>
                <a:gd name="T12" fmla="*/ 421 w 487"/>
                <a:gd name="T13" fmla="*/ 0 h 758"/>
                <a:gd name="T14" fmla="*/ 487 w 487"/>
                <a:gd name="T15" fmla="*/ 68 h 758"/>
                <a:gd name="T16" fmla="*/ 201 w 487"/>
                <a:gd name="T17" fmla="*/ 721 h 758"/>
                <a:gd name="T18" fmla="*/ 82 w 487"/>
                <a:gd name="T19" fmla="*/ 757 h 758"/>
                <a:gd name="T20" fmla="*/ 71 w 487"/>
                <a:gd name="T21" fmla="*/ 758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87" h="758">
                  <a:moveTo>
                    <a:pt x="71" y="758"/>
                  </a:moveTo>
                  <a:cubicBezTo>
                    <a:pt x="39" y="758"/>
                    <a:pt x="11" y="734"/>
                    <a:pt x="6" y="701"/>
                  </a:cubicBezTo>
                  <a:cubicBezTo>
                    <a:pt x="0" y="665"/>
                    <a:pt x="25" y="631"/>
                    <a:pt x="61" y="625"/>
                  </a:cubicBezTo>
                  <a:cubicBezTo>
                    <a:pt x="92" y="620"/>
                    <a:pt x="121" y="612"/>
                    <a:pt x="146" y="600"/>
                  </a:cubicBezTo>
                  <a:cubicBezTo>
                    <a:pt x="315" y="523"/>
                    <a:pt x="352" y="331"/>
                    <a:pt x="354" y="67"/>
                  </a:cubicBezTo>
                  <a:cubicBezTo>
                    <a:pt x="354" y="30"/>
                    <a:pt x="384" y="0"/>
                    <a:pt x="420" y="0"/>
                  </a:cubicBezTo>
                  <a:lnTo>
                    <a:pt x="421" y="0"/>
                  </a:lnTo>
                  <a:cubicBezTo>
                    <a:pt x="458" y="1"/>
                    <a:pt x="487" y="31"/>
                    <a:pt x="487" y="68"/>
                  </a:cubicBezTo>
                  <a:cubicBezTo>
                    <a:pt x="485" y="341"/>
                    <a:pt x="449" y="609"/>
                    <a:pt x="201" y="721"/>
                  </a:cubicBezTo>
                  <a:cubicBezTo>
                    <a:pt x="165" y="738"/>
                    <a:pt x="125" y="750"/>
                    <a:pt x="82" y="757"/>
                  </a:cubicBezTo>
                  <a:cubicBezTo>
                    <a:pt x="78" y="757"/>
                    <a:pt x="75" y="758"/>
                    <a:pt x="71" y="758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6" name="Freeform 1319">
              <a:extLst>
                <a:ext uri="{FF2B5EF4-FFF2-40B4-BE49-F238E27FC236}">
                  <a16:creationId xmlns:a16="http://schemas.microsoft.com/office/drawing/2014/main" id="{C19D07A4-2611-96AF-32C7-D4F38002919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6426" y="4057651"/>
              <a:ext cx="12700" cy="23813"/>
            </a:xfrm>
            <a:custGeom>
              <a:avLst/>
              <a:gdLst>
                <a:gd name="T0" fmla="*/ 70 w 137"/>
                <a:gd name="T1" fmla="*/ 263 h 263"/>
                <a:gd name="T2" fmla="*/ 4 w 137"/>
                <a:gd name="T3" fmla="*/ 197 h 263"/>
                <a:gd name="T4" fmla="*/ 1 w 137"/>
                <a:gd name="T5" fmla="*/ 70 h 263"/>
                <a:gd name="T6" fmla="*/ 66 w 137"/>
                <a:gd name="T7" fmla="*/ 2 h 263"/>
                <a:gd name="T8" fmla="*/ 134 w 137"/>
                <a:gd name="T9" fmla="*/ 67 h 263"/>
                <a:gd name="T10" fmla="*/ 137 w 137"/>
                <a:gd name="T11" fmla="*/ 196 h 263"/>
                <a:gd name="T12" fmla="*/ 71 w 137"/>
                <a:gd name="T13" fmla="*/ 263 h 263"/>
                <a:gd name="T14" fmla="*/ 70 w 137"/>
                <a:gd name="T15" fmla="*/ 263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263">
                  <a:moveTo>
                    <a:pt x="70" y="263"/>
                  </a:moveTo>
                  <a:cubicBezTo>
                    <a:pt x="34" y="263"/>
                    <a:pt x="4" y="234"/>
                    <a:pt x="4" y="197"/>
                  </a:cubicBezTo>
                  <a:cubicBezTo>
                    <a:pt x="3" y="155"/>
                    <a:pt x="2" y="113"/>
                    <a:pt x="1" y="70"/>
                  </a:cubicBezTo>
                  <a:cubicBezTo>
                    <a:pt x="0" y="33"/>
                    <a:pt x="29" y="2"/>
                    <a:pt x="66" y="2"/>
                  </a:cubicBezTo>
                  <a:cubicBezTo>
                    <a:pt x="103" y="0"/>
                    <a:pt x="133" y="30"/>
                    <a:pt x="134" y="67"/>
                  </a:cubicBezTo>
                  <a:cubicBezTo>
                    <a:pt x="135" y="110"/>
                    <a:pt x="136" y="153"/>
                    <a:pt x="137" y="196"/>
                  </a:cubicBezTo>
                  <a:cubicBezTo>
                    <a:pt x="137" y="232"/>
                    <a:pt x="108" y="263"/>
                    <a:pt x="71" y="263"/>
                  </a:cubicBezTo>
                  <a:lnTo>
                    <a:pt x="70" y="263"/>
                  </a:lnTo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7" name="Freeform 1320">
              <a:extLst>
                <a:ext uri="{FF2B5EF4-FFF2-40B4-BE49-F238E27FC236}">
                  <a16:creationId xmlns:a16="http://schemas.microsoft.com/office/drawing/2014/main" id="{8BB3BA2A-3893-1CF6-A0FE-407A49A941A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8488" y="3960813"/>
              <a:ext cx="31750" cy="41275"/>
            </a:xfrm>
            <a:custGeom>
              <a:avLst/>
              <a:gdLst>
                <a:gd name="T0" fmla="*/ 110 w 349"/>
                <a:gd name="T1" fmla="*/ 460 h 460"/>
                <a:gd name="T2" fmla="*/ 57 w 349"/>
                <a:gd name="T3" fmla="*/ 453 h 460"/>
                <a:gd name="T4" fmla="*/ 9 w 349"/>
                <a:gd name="T5" fmla="*/ 372 h 460"/>
                <a:gd name="T6" fmla="*/ 90 w 349"/>
                <a:gd name="T7" fmla="*/ 324 h 460"/>
                <a:gd name="T8" fmla="*/ 155 w 349"/>
                <a:gd name="T9" fmla="*/ 308 h 460"/>
                <a:gd name="T10" fmla="*/ 188 w 349"/>
                <a:gd name="T11" fmla="*/ 87 h 460"/>
                <a:gd name="T12" fmla="*/ 239 w 349"/>
                <a:gd name="T13" fmla="*/ 8 h 460"/>
                <a:gd name="T14" fmla="*/ 318 w 349"/>
                <a:gd name="T15" fmla="*/ 59 h 460"/>
                <a:gd name="T16" fmla="*/ 247 w 349"/>
                <a:gd name="T17" fmla="*/ 405 h 460"/>
                <a:gd name="T18" fmla="*/ 110 w 349"/>
                <a:gd name="T19" fmla="*/ 460 h 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9" h="460">
                  <a:moveTo>
                    <a:pt x="110" y="460"/>
                  </a:moveTo>
                  <a:cubicBezTo>
                    <a:pt x="93" y="460"/>
                    <a:pt x="75" y="458"/>
                    <a:pt x="57" y="453"/>
                  </a:cubicBezTo>
                  <a:cubicBezTo>
                    <a:pt x="21" y="444"/>
                    <a:pt x="0" y="407"/>
                    <a:pt x="9" y="372"/>
                  </a:cubicBezTo>
                  <a:cubicBezTo>
                    <a:pt x="18" y="336"/>
                    <a:pt x="55" y="315"/>
                    <a:pt x="90" y="324"/>
                  </a:cubicBezTo>
                  <a:cubicBezTo>
                    <a:pt x="116" y="330"/>
                    <a:pt x="137" y="325"/>
                    <a:pt x="155" y="308"/>
                  </a:cubicBezTo>
                  <a:cubicBezTo>
                    <a:pt x="187" y="277"/>
                    <a:pt x="212" y="203"/>
                    <a:pt x="188" y="87"/>
                  </a:cubicBezTo>
                  <a:cubicBezTo>
                    <a:pt x="180" y="51"/>
                    <a:pt x="203" y="16"/>
                    <a:pt x="239" y="8"/>
                  </a:cubicBezTo>
                  <a:cubicBezTo>
                    <a:pt x="275" y="0"/>
                    <a:pt x="311" y="23"/>
                    <a:pt x="318" y="59"/>
                  </a:cubicBezTo>
                  <a:cubicBezTo>
                    <a:pt x="349" y="203"/>
                    <a:pt x="322" y="332"/>
                    <a:pt x="247" y="405"/>
                  </a:cubicBezTo>
                  <a:cubicBezTo>
                    <a:pt x="209" y="441"/>
                    <a:pt x="161" y="460"/>
                    <a:pt x="110" y="46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8" name="Freeform 1321">
              <a:extLst>
                <a:ext uri="{FF2B5EF4-FFF2-40B4-BE49-F238E27FC236}">
                  <a16:creationId xmlns:a16="http://schemas.microsoft.com/office/drawing/2014/main" id="{6DE28449-5971-9D29-EB08-FE024619CDB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8013" y="3946526"/>
              <a:ext cx="12700" cy="12700"/>
            </a:xfrm>
            <a:custGeom>
              <a:avLst/>
              <a:gdLst>
                <a:gd name="T0" fmla="*/ 78 w 150"/>
                <a:gd name="T1" fmla="*/ 142 h 142"/>
                <a:gd name="T2" fmla="*/ 54 w 150"/>
                <a:gd name="T3" fmla="*/ 137 h 142"/>
                <a:gd name="T4" fmla="*/ 17 w 150"/>
                <a:gd name="T5" fmla="*/ 109 h 142"/>
                <a:gd name="T6" fmla="*/ 26 w 150"/>
                <a:gd name="T7" fmla="*/ 25 h 142"/>
                <a:gd name="T8" fmla="*/ 96 w 150"/>
                <a:gd name="T9" fmla="*/ 10 h 142"/>
                <a:gd name="T10" fmla="*/ 133 w 150"/>
                <a:gd name="T11" fmla="*/ 38 h 142"/>
                <a:gd name="T12" fmla="*/ 125 w 150"/>
                <a:gd name="T13" fmla="*/ 122 h 142"/>
                <a:gd name="T14" fmla="*/ 78 w 150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0" h="142">
                  <a:moveTo>
                    <a:pt x="78" y="142"/>
                  </a:moveTo>
                  <a:cubicBezTo>
                    <a:pt x="70" y="142"/>
                    <a:pt x="62" y="140"/>
                    <a:pt x="54" y="137"/>
                  </a:cubicBezTo>
                  <a:cubicBezTo>
                    <a:pt x="39" y="133"/>
                    <a:pt x="26" y="123"/>
                    <a:pt x="17" y="109"/>
                  </a:cubicBezTo>
                  <a:cubicBezTo>
                    <a:pt x="0" y="83"/>
                    <a:pt x="4" y="48"/>
                    <a:pt x="26" y="25"/>
                  </a:cubicBezTo>
                  <a:cubicBezTo>
                    <a:pt x="42" y="10"/>
                    <a:pt x="68" y="0"/>
                    <a:pt x="96" y="10"/>
                  </a:cubicBezTo>
                  <a:cubicBezTo>
                    <a:pt x="111" y="14"/>
                    <a:pt x="124" y="24"/>
                    <a:pt x="133" y="38"/>
                  </a:cubicBezTo>
                  <a:cubicBezTo>
                    <a:pt x="150" y="64"/>
                    <a:pt x="147" y="99"/>
                    <a:pt x="125" y="122"/>
                  </a:cubicBezTo>
                  <a:cubicBezTo>
                    <a:pt x="114" y="133"/>
                    <a:pt x="97" y="142"/>
                    <a:pt x="78" y="14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157AAAB8-EE21-2A24-1D7C-4822431EB363}"/>
              </a:ext>
            </a:extLst>
          </p:cNvPr>
          <p:cNvSpPr txBox="1"/>
          <p:nvPr/>
        </p:nvSpPr>
        <p:spPr>
          <a:xfrm>
            <a:off x="7914513" y="4876800"/>
            <a:ext cx="23871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latin typeface="+mj-lt"/>
              </a:rPr>
              <a:t>Summer Promotions</a:t>
            </a:r>
          </a:p>
        </p:txBody>
      </p:sp>
    </p:spTree>
    <p:extLst>
      <p:ext uri="{BB962C8B-B14F-4D97-AF65-F5344CB8AC3E}">
        <p14:creationId xmlns:p14="http://schemas.microsoft.com/office/powerpoint/2010/main" val="39855832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D6D66FA-73E4-8AE3-2F0E-46E70534FE1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3</a:t>
            </a:fld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B9325A-A8FD-EE19-805A-2B7F1CA23BD9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0" indent="0">
              <a:buNone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Retail mail during June, July and August 2024 achieves high levels of engagement</a:t>
            </a:r>
          </a:p>
          <a:p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51CC8D2-EDCF-BAE0-A30D-11C9D6E926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il achieves high engagemen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A3E6738-F395-13B8-D01C-FDB65BFE341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Source: JICMAIL, Item Data, Advertising Mail, Retailer, June-August, n=71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2232599-69A3-F4AB-1D1A-E65480C8BE08}"/>
              </a:ext>
            </a:extLst>
          </p:cNvPr>
          <p:cNvSpPr txBox="1"/>
          <p:nvPr/>
        </p:nvSpPr>
        <p:spPr>
          <a:xfrm>
            <a:off x="7384328" y="3526042"/>
            <a:ext cx="3047629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3800" b="1" dirty="0">
                <a:latin typeface="Century Gothic" panose="020B0502020202020204" pitchFamily="34" charset="0"/>
              </a:rPr>
              <a:t>96</a:t>
            </a:r>
            <a:r>
              <a:rPr lang="en-GB" sz="8000" b="1" dirty="0">
                <a:solidFill>
                  <a:schemeClr val="accent1"/>
                </a:solidFill>
                <a:latin typeface="Century Gothic" panose="020B0502020202020204" pitchFamily="34" charset="0"/>
              </a:rPr>
              <a:t>%</a:t>
            </a:r>
            <a:endParaRPr lang="en-GB" sz="4800" b="1" dirty="0">
              <a:solidFill>
                <a:schemeClr val="accent1"/>
              </a:solidFill>
              <a:latin typeface="Century Gothic" panose="020B0502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C6D82D4-3B9B-F60E-39F9-4BEF71CFD9E7}"/>
              </a:ext>
            </a:extLst>
          </p:cNvPr>
          <p:cNvSpPr txBox="1"/>
          <p:nvPr/>
        </p:nvSpPr>
        <p:spPr>
          <a:xfrm>
            <a:off x="7956512" y="5414179"/>
            <a:ext cx="27523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latin typeface="Century Gothic" panose="020B0502020202020204" pitchFamily="34" charset="0"/>
              </a:rPr>
              <a:t>Engagement Rat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03A983E-1A7F-DD66-86A7-57A2BB37E06E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961069">
            <a:off x="8445532" y="2514527"/>
            <a:ext cx="2023447" cy="1977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9742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9F126C-6518-AF93-3836-F1BBD8C419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etrics for retail mai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85D0DB-2240-9EE6-F0CA-6656EBECEE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In June to August at Back to School trading time retail mail performs well against averag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60E79D-4AB8-C220-0C80-1A925221B9C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4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35F9EEB-4E8E-2FE5-4E17-2EE3EB172E6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Source: JICMAIL, Item Data, Advertising Mail, Retailer, June-August, n=742</a:t>
            </a:r>
          </a:p>
        </p:txBody>
      </p:sp>
      <p:grpSp>
        <p:nvGrpSpPr>
          <p:cNvPr id="7" name="Loop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8DDF829-A265-D1C0-4A00-AE30B1F3557C}"/>
              </a:ext>
            </a:extLst>
          </p:cNvPr>
          <p:cNvGrpSpPr>
            <a:grpSpLocks noChangeAspect="1"/>
          </p:cNvGrpSpPr>
          <p:nvPr/>
        </p:nvGrpSpPr>
        <p:grpSpPr>
          <a:xfrm flipV="1">
            <a:off x="3586917" y="2524692"/>
            <a:ext cx="1663935" cy="1750293"/>
            <a:chOff x="6855725" y="2321521"/>
            <a:chExt cx="914400" cy="961857"/>
          </a:xfrm>
        </p:grpSpPr>
        <p:sp>
          <p:nvSpPr>
            <p:cNvPr id="8" name="Arc 7">
              <a:extLst>
                <a:ext uri="{FF2B5EF4-FFF2-40B4-BE49-F238E27FC236}">
                  <a16:creationId xmlns:a16="http://schemas.microsoft.com/office/drawing/2014/main" id="{FB7A315A-C367-3ECC-F8F4-B00DFF2DD21F}"/>
                </a:ext>
              </a:extLst>
            </p:cNvPr>
            <p:cNvSpPr/>
            <p:nvPr/>
          </p:nvSpPr>
          <p:spPr>
            <a:xfrm rot="10860000">
              <a:off x="6855725" y="2368978"/>
              <a:ext cx="914400" cy="914400"/>
            </a:xfrm>
            <a:prstGeom prst="arc">
              <a:avLst>
                <a:gd name="adj1" fmla="val 13793950"/>
                <a:gd name="adj2" fmla="val 17925109"/>
              </a:avLst>
            </a:prstGeom>
            <a:ln w="76200">
              <a:solidFill>
                <a:schemeClr val="accent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Arc 8">
              <a:extLst>
                <a:ext uri="{FF2B5EF4-FFF2-40B4-BE49-F238E27FC236}">
                  <a16:creationId xmlns:a16="http://schemas.microsoft.com/office/drawing/2014/main" id="{CCB79BDD-6F78-781D-8A3A-0EC516C9327C}"/>
                </a:ext>
              </a:extLst>
            </p:cNvPr>
            <p:cNvSpPr/>
            <p:nvPr/>
          </p:nvSpPr>
          <p:spPr>
            <a:xfrm rot="16260000">
              <a:off x="6855725" y="2353159"/>
              <a:ext cx="914400" cy="914400"/>
            </a:xfrm>
            <a:prstGeom prst="arc">
              <a:avLst>
                <a:gd name="adj1" fmla="val 13793950"/>
                <a:gd name="adj2" fmla="val 17925109"/>
              </a:avLst>
            </a:prstGeom>
            <a:ln w="7620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Arc 9">
              <a:extLst>
                <a:ext uri="{FF2B5EF4-FFF2-40B4-BE49-F238E27FC236}">
                  <a16:creationId xmlns:a16="http://schemas.microsoft.com/office/drawing/2014/main" id="{08F5FF19-932F-7201-77BA-57CF5CC858FF}"/>
                </a:ext>
              </a:extLst>
            </p:cNvPr>
            <p:cNvSpPr/>
            <p:nvPr/>
          </p:nvSpPr>
          <p:spPr>
            <a:xfrm rot="60000">
              <a:off x="6855725" y="2337340"/>
              <a:ext cx="914400" cy="914400"/>
            </a:xfrm>
            <a:prstGeom prst="arc">
              <a:avLst>
                <a:gd name="adj1" fmla="val 13793950"/>
                <a:gd name="adj2" fmla="val 17925109"/>
              </a:avLst>
            </a:prstGeom>
            <a:ln w="76200">
              <a:solidFill>
                <a:schemeClr val="accent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Arc 10">
              <a:extLst>
                <a:ext uri="{FF2B5EF4-FFF2-40B4-BE49-F238E27FC236}">
                  <a16:creationId xmlns:a16="http://schemas.microsoft.com/office/drawing/2014/main" id="{E7544D03-E1CC-04EE-8B9E-1481F5FD8FFA}"/>
                </a:ext>
              </a:extLst>
            </p:cNvPr>
            <p:cNvSpPr/>
            <p:nvPr/>
          </p:nvSpPr>
          <p:spPr>
            <a:xfrm rot="5460000">
              <a:off x="6855725" y="2321521"/>
              <a:ext cx="914400" cy="914400"/>
            </a:xfrm>
            <a:prstGeom prst="arc">
              <a:avLst>
                <a:gd name="adj1" fmla="val 13793950"/>
                <a:gd name="adj2" fmla="val 17925109"/>
              </a:avLst>
            </a:prstGeom>
            <a:ln w="7620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1298070-F1DE-4A41-B188-290A982F124E}"/>
              </a:ext>
            </a:extLst>
          </p:cNvPr>
          <p:cNvGrpSpPr/>
          <p:nvPr/>
        </p:nvGrpSpPr>
        <p:grpSpPr>
          <a:xfrm>
            <a:off x="867310" y="2548229"/>
            <a:ext cx="1785786" cy="1703218"/>
            <a:chOff x="6791322" y="2606349"/>
            <a:chExt cx="939388" cy="895954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8020667-2CCB-FCF0-287D-F5718209FCBA}"/>
                </a:ext>
              </a:extLst>
            </p:cNvPr>
            <p:cNvSpPr/>
            <p:nvPr/>
          </p:nvSpPr>
          <p:spPr>
            <a:xfrm>
              <a:off x="6791322" y="2625640"/>
              <a:ext cx="857779" cy="857780"/>
            </a:xfrm>
            <a:prstGeom prst="ellipse">
              <a:avLst/>
            </a:prstGeom>
            <a:noFill/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D34948F-4862-C96B-C79F-8BE7EAFEEC86}"/>
                </a:ext>
              </a:extLst>
            </p:cNvPr>
            <p:cNvSpPr/>
            <p:nvPr/>
          </p:nvSpPr>
          <p:spPr>
            <a:xfrm>
              <a:off x="6894011" y="2606349"/>
              <a:ext cx="198923" cy="198923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91E1289-6EF4-D5D6-8D50-667B88F68B25}"/>
                </a:ext>
              </a:extLst>
            </p:cNvPr>
            <p:cNvSpPr/>
            <p:nvPr/>
          </p:nvSpPr>
          <p:spPr>
            <a:xfrm>
              <a:off x="6894010" y="3303380"/>
              <a:ext cx="198923" cy="198923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47A96EA3-7E99-B5D1-9394-423D12740389}"/>
                </a:ext>
              </a:extLst>
            </p:cNvPr>
            <p:cNvSpPr/>
            <p:nvPr/>
          </p:nvSpPr>
          <p:spPr>
            <a:xfrm>
              <a:off x="7531787" y="2955067"/>
              <a:ext cx="198923" cy="198923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328DFC19-9956-9C4A-5A2C-DB270B1E1DF8}"/>
              </a:ext>
            </a:extLst>
          </p:cNvPr>
          <p:cNvSpPr txBox="1"/>
          <p:nvPr/>
        </p:nvSpPr>
        <p:spPr>
          <a:xfrm>
            <a:off x="3241027" y="4295415"/>
            <a:ext cx="235571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>
                <a:latin typeface="+mj-lt"/>
              </a:rPr>
              <a:t>Frequency</a:t>
            </a:r>
            <a:endParaRPr lang="en-GB" sz="2800" b="1" dirty="0">
              <a:latin typeface="+mj-lt"/>
            </a:endParaRPr>
          </a:p>
          <a:p>
            <a:pPr algn="ctr"/>
            <a:r>
              <a:rPr lang="en-GB" b="1" dirty="0">
                <a:latin typeface="+mj-lt"/>
              </a:rPr>
              <a:t>Number of times mail returned to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2112874-405A-9398-BF34-E2B4BD108B28}"/>
              </a:ext>
            </a:extLst>
          </p:cNvPr>
          <p:cNvSpPr txBox="1"/>
          <p:nvPr/>
        </p:nvSpPr>
        <p:spPr>
          <a:xfrm>
            <a:off x="3800200" y="3048138"/>
            <a:ext cx="128913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400" b="1" dirty="0">
                <a:latin typeface="+mj-lt"/>
              </a:rPr>
              <a:t>4.33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C111427-85F4-0AC5-6387-52F93254A338}"/>
              </a:ext>
            </a:extLst>
          </p:cNvPr>
          <p:cNvSpPr txBox="1"/>
          <p:nvPr/>
        </p:nvSpPr>
        <p:spPr>
          <a:xfrm>
            <a:off x="1029382" y="3048138"/>
            <a:ext cx="128913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400" b="1" dirty="0">
                <a:latin typeface="+mj-lt"/>
              </a:rPr>
              <a:t>1.17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EC5393D-940F-FEA4-14ED-4C7461BE835E}"/>
              </a:ext>
            </a:extLst>
          </p:cNvPr>
          <p:cNvSpPr txBox="1"/>
          <p:nvPr/>
        </p:nvSpPr>
        <p:spPr>
          <a:xfrm>
            <a:off x="464560" y="4268855"/>
            <a:ext cx="259128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>
                <a:latin typeface="+mj-lt"/>
              </a:rPr>
              <a:t>Reach</a:t>
            </a:r>
            <a:endParaRPr lang="en-GB" sz="2800" b="1" dirty="0">
              <a:latin typeface="+mj-lt"/>
            </a:endParaRPr>
          </a:p>
          <a:p>
            <a:pPr algn="ctr"/>
            <a:r>
              <a:rPr lang="en-GB" b="1" dirty="0">
                <a:latin typeface="+mj-lt"/>
              </a:rPr>
              <a:t>Number of people who see mail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3122C7D-8F0E-ABEF-1121-CBE31EB7ACC5}"/>
              </a:ext>
            </a:extLst>
          </p:cNvPr>
          <p:cNvSpPr txBox="1"/>
          <p:nvPr/>
        </p:nvSpPr>
        <p:spPr>
          <a:xfrm>
            <a:off x="5781922" y="4268855"/>
            <a:ext cx="259128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>
                <a:latin typeface="+mj-lt"/>
              </a:rPr>
              <a:t>Attention</a:t>
            </a:r>
            <a:endParaRPr lang="en-GB" sz="2800" b="1" dirty="0">
              <a:latin typeface="+mj-lt"/>
            </a:endParaRPr>
          </a:p>
          <a:p>
            <a:pPr algn="ctr"/>
            <a:r>
              <a:rPr lang="en-GB" b="1" dirty="0">
                <a:latin typeface="+mj-lt"/>
              </a:rPr>
              <a:t>Average number of minutes and seconds attention per mail item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86054FB-3067-416C-D8AE-A26D0C56D0DE}"/>
              </a:ext>
            </a:extLst>
          </p:cNvPr>
          <p:cNvSpPr txBox="1"/>
          <p:nvPr/>
        </p:nvSpPr>
        <p:spPr>
          <a:xfrm>
            <a:off x="6433004" y="3048138"/>
            <a:ext cx="128913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4400" b="1" dirty="0">
                <a:latin typeface="+mj-lt"/>
              </a:rPr>
              <a:t>2:43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A6DD8E1-9396-34E4-CD63-56EA33E3F854}"/>
              </a:ext>
            </a:extLst>
          </p:cNvPr>
          <p:cNvGrpSpPr/>
          <p:nvPr/>
        </p:nvGrpSpPr>
        <p:grpSpPr>
          <a:xfrm>
            <a:off x="6223171" y="2292424"/>
            <a:ext cx="1708788" cy="1976431"/>
            <a:chOff x="5524411" y="551421"/>
            <a:chExt cx="2067634" cy="2391481"/>
          </a:xfrm>
        </p:grpSpPr>
        <p:sp>
          <p:nvSpPr>
            <p:cNvPr id="24" name="Freeform 928">
              <a:extLst>
                <a:ext uri="{FF2B5EF4-FFF2-40B4-BE49-F238E27FC236}">
                  <a16:creationId xmlns:a16="http://schemas.microsoft.com/office/drawing/2014/main" id="{3AFC9875-D88E-9B92-3FCB-0D95C10A06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6102" y="974912"/>
              <a:ext cx="311395" cy="311395"/>
            </a:xfrm>
            <a:custGeom>
              <a:avLst/>
              <a:gdLst>
                <a:gd name="T0" fmla="*/ 14 w 25"/>
                <a:gd name="T1" fmla="*/ 25 h 25"/>
                <a:gd name="T2" fmla="*/ 9 w 25"/>
                <a:gd name="T3" fmla="*/ 20 h 25"/>
                <a:gd name="T4" fmla="*/ 16 w 25"/>
                <a:gd name="T5" fmla="*/ 14 h 25"/>
                <a:gd name="T6" fmla="*/ 12 w 25"/>
                <a:gd name="T7" fmla="*/ 9 h 25"/>
                <a:gd name="T8" fmla="*/ 5 w 25"/>
                <a:gd name="T9" fmla="*/ 16 h 25"/>
                <a:gd name="T10" fmla="*/ 0 w 25"/>
                <a:gd name="T11" fmla="*/ 12 h 25"/>
                <a:gd name="T12" fmla="*/ 12 w 25"/>
                <a:gd name="T13" fmla="*/ 0 h 25"/>
                <a:gd name="T14" fmla="*/ 25 w 25"/>
                <a:gd name="T15" fmla="*/ 14 h 25"/>
                <a:gd name="T16" fmla="*/ 14 w 25"/>
                <a:gd name="T1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5">
                  <a:moveTo>
                    <a:pt x="14" y="25"/>
                  </a:moveTo>
                  <a:lnTo>
                    <a:pt x="9" y="20"/>
                  </a:lnTo>
                  <a:lnTo>
                    <a:pt x="16" y="14"/>
                  </a:lnTo>
                  <a:lnTo>
                    <a:pt x="12" y="9"/>
                  </a:lnTo>
                  <a:lnTo>
                    <a:pt x="5" y="16"/>
                  </a:lnTo>
                  <a:lnTo>
                    <a:pt x="0" y="12"/>
                  </a:lnTo>
                  <a:lnTo>
                    <a:pt x="12" y="0"/>
                  </a:lnTo>
                  <a:lnTo>
                    <a:pt x="25" y="14"/>
                  </a:lnTo>
                  <a:lnTo>
                    <a:pt x="14" y="25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 930">
              <a:extLst>
                <a:ext uri="{FF2B5EF4-FFF2-40B4-BE49-F238E27FC236}">
                  <a16:creationId xmlns:a16="http://schemas.microsoft.com/office/drawing/2014/main" id="{EAF2911E-1689-F174-9458-B5D1C1270DB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3676" y="713348"/>
              <a:ext cx="236661" cy="199290"/>
            </a:xfrm>
            <a:custGeom>
              <a:avLst/>
              <a:gdLst>
                <a:gd name="T0" fmla="*/ 19 w 19"/>
                <a:gd name="T1" fmla="*/ 16 h 16"/>
                <a:gd name="T2" fmla="*/ 13 w 19"/>
                <a:gd name="T3" fmla="*/ 16 h 16"/>
                <a:gd name="T4" fmla="*/ 13 w 19"/>
                <a:gd name="T5" fmla="*/ 6 h 16"/>
                <a:gd name="T6" fmla="*/ 7 w 19"/>
                <a:gd name="T7" fmla="*/ 6 h 16"/>
                <a:gd name="T8" fmla="*/ 7 w 19"/>
                <a:gd name="T9" fmla="*/ 16 h 16"/>
                <a:gd name="T10" fmla="*/ 0 w 19"/>
                <a:gd name="T11" fmla="*/ 16 h 16"/>
                <a:gd name="T12" fmla="*/ 0 w 19"/>
                <a:gd name="T13" fmla="*/ 0 h 16"/>
                <a:gd name="T14" fmla="*/ 19 w 19"/>
                <a:gd name="T15" fmla="*/ 0 h 16"/>
                <a:gd name="T16" fmla="*/ 19 w 19"/>
                <a:gd name="T1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6">
                  <a:moveTo>
                    <a:pt x="19" y="16"/>
                  </a:moveTo>
                  <a:lnTo>
                    <a:pt x="13" y="16"/>
                  </a:lnTo>
                  <a:lnTo>
                    <a:pt x="13" y="6"/>
                  </a:lnTo>
                  <a:lnTo>
                    <a:pt x="7" y="6"/>
                  </a:lnTo>
                  <a:lnTo>
                    <a:pt x="7" y="16"/>
                  </a:lnTo>
                  <a:lnTo>
                    <a:pt x="0" y="1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19" y="16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 931">
              <a:extLst>
                <a:ext uri="{FF2B5EF4-FFF2-40B4-BE49-F238E27FC236}">
                  <a16:creationId xmlns:a16="http://schemas.microsoft.com/office/drawing/2014/main" id="{EB4FB552-5247-9BDC-7FD8-FC6F1043AA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46482" y="551421"/>
              <a:ext cx="423491" cy="236661"/>
            </a:xfrm>
            <a:custGeom>
              <a:avLst/>
              <a:gdLst>
                <a:gd name="T0" fmla="*/ 17 w 90"/>
                <a:gd name="T1" fmla="*/ 34 h 50"/>
                <a:gd name="T2" fmla="*/ 73 w 90"/>
                <a:gd name="T3" fmla="*/ 34 h 50"/>
                <a:gd name="T4" fmla="*/ 73 w 90"/>
                <a:gd name="T5" fmla="*/ 17 h 50"/>
                <a:gd name="T6" fmla="*/ 17 w 90"/>
                <a:gd name="T7" fmla="*/ 17 h 50"/>
                <a:gd name="T8" fmla="*/ 17 w 90"/>
                <a:gd name="T9" fmla="*/ 34 h 50"/>
                <a:gd name="T10" fmla="*/ 90 w 90"/>
                <a:gd name="T11" fmla="*/ 50 h 50"/>
                <a:gd name="T12" fmla="*/ 0 w 90"/>
                <a:gd name="T13" fmla="*/ 50 h 50"/>
                <a:gd name="T14" fmla="*/ 0 w 90"/>
                <a:gd name="T15" fmla="*/ 0 h 50"/>
                <a:gd name="T16" fmla="*/ 90 w 90"/>
                <a:gd name="T17" fmla="*/ 0 h 50"/>
                <a:gd name="T18" fmla="*/ 90 w 90"/>
                <a:gd name="T1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50">
                  <a:moveTo>
                    <a:pt x="17" y="34"/>
                  </a:moveTo>
                  <a:lnTo>
                    <a:pt x="73" y="34"/>
                  </a:lnTo>
                  <a:lnTo>
                    <a:pt x="73" y="17"/>
                  </a:lnTo>
                  <a:lnTo>
                    <a:pt x="17" y="17"/>
                  </a:lnTo>
                  <a:lnTo>
                    <a:pt x="17" y="34"/>
                  </a:lnTo>
                  <a:close/>
                  <a:moveTo>
                    <a:pt x="90" y="50"/>
                  </a:moveTo>
                  <a:lnTo>
                    <a:pt x="0" y="50"/>
                  </a:lnTo>
                  <a:lnTo>
                    <a:pt x="0" y="0"/>
                  </a:lnTo>
                  <a:lnTo>
                    <a:pt x="90" y="0"/>
                  </a:lnTo>
                  <a:lnTo>
                    <a:pt x="90" y="5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932">
              <a:extLst>
                <a:ext uri="{FF2B5EF4-FFF2-40B4-BE49-F238E27FC236}">
                  <a16:creationId xmlns:a16="http://schemas.microsoft.com/office/drawing/2014/main" id="{4C2100CA-DC0B-9313-9A38-FB15DD8B01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24411" y="875267"/>
              <a:ext cx="2067634" cy="2067635"/>
            </a:xfrm>
            <a:custGeom>
              <a:avLst/>
              <a:gdLst>
                <a:gd name="T0" fmla="*/ 216 w 433"/>
                <a:gd name="T1" fmla="*/ 17 h 433"/>
                <a:gd name="T2" fmla="*/ 16 w 433"/>
                <a:gd name="T3" fmla="*/ 217 h 433"/>
                <a:gd name="T4" fmla="*/ 216 w 433"/>
                <a:gd name="T5" fmla="*/ 417 h 433"/>
                <a:gd name="T6" fmla="*/ 416 w 433"/>
                <a:gd name="T7" fmla="*/ 217 h 433"/>
                <a:gd name="T8" fmla="*/ 216 w 433"/>
                <a:gd name="T9" fmla="*/ 17 h 433"/>
                <a:gd name="T10" fmla="*/ 216 w 433"/>
                <a:gd name="T11" fmla="*/ 433 h 433"/>
                <a:gd name="T12" fmla="*/ 0 w 433"/>
                <a:gd name="T13" fmla="*/ 217 h 433"/>
                <a:gd name="T14" fmla="*/ 216 w 433"/>
                <a:gd name="T15" fmla="*/ 0 h 433"/>
                <a:gd name="T16" fmla="*/ 433 w 433"/>
                <a:gd name="T17" fmla="*/ 217 h 433"/>
                <a:gd name="T18" fmla="*/ 216 w 433"/>
                <a:gd name="T19" fmla="*/ 433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3" h="433">
                  <a:moveTo>
                    <a:pt x="216" y="17"/>
                  </a:moveTo>
                  <a:cubicBezTo>
                    <a:pt x="106" y="17"/>
                    <a:pt x="16" y="107"/>
                    <a:pt x="16" y="217"/>
                  </a:cubicBezTo>
                  <a:cubicBezTo>
                    <a:pt x="16" y="327"/>
                    <a:pt x="106" y="417"/>
                    <a:pt x="216" y="417"/>
                  </a:cubicBezTo>
                  <a:cubicBezTo>
                    <a:pt x="326" y="417"/>
                    <a:pt x="416" y="327"/>
                    <a:pt x="416" y="217"/>
                  </a:cubicBezTo>
                  <a:cubicBezTo>
                    <a:pt x="416" y="107"/>
                    <a:pt x="326" y="17"/>
                    <a:pt x="216" y="17"/>
                  </a:cubicBezTo>
                  <a:close/>
                  <a:moveTo>
                    <a:pt x="216" y="433"/>
                  </a:moveTo>
                  <a:cubicBezTo>
                    <a:pt x="97" y="433"/>
                    <a:pt x="0" y="336"/>
                    <a:pt x="0" y="217"/>
                  </a:cubicBezTo>
                  <a:cubicBezTo>
                    <a:pt x="0" y="97"/>
                    <a:pt x="97" y="0"/>
                    <a:pt x="216" y="0"/>
                  </a:cubicBezTo>
                  <a:cubicBezTo>
                    <a:pt x="335" y="0"/>
                    <a:pt x="433" y="97"/>
                    <a:pt x="433" y="217"/>
                  </a:cubicBezTo>
                  <a:cubicBezTo>
                    <a:pt x="433" y="336"/>
                    <a:pt x="335" y="433"/>
                    <a:pt x="216" y="433"/>
                  </a:cubicBezTo>
                </a:path>
              </a:pathLst>
            </a:custGeom>
            <a:solidFill>
              <a:schemeClr val="tx1"/>
            </a:solidFill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22B1FE0-8EB0-DCD6-5946-0B577D288EE3}"/>
              </a:ext>
            </a:extLst>
          </p:cNvPr>
          <p:cNvGrpSpPr/>
          <p:nvPr/>
        </p:nvGrpSpPr>
        <p:grpSpPr>
          <a:xfrm>
            <a:off x="8962831" y="2382532"/>
            <a:ext cx="1782404" cy="1737656"/>
            <a:chOff x="7336432" y="2633196"/>
            <a:chExt cx="755569" cy="736600"/>
          </a:xfrm>
        </p:grpSpPr>
        <p:sp>
          <p:nvSpPr>
            <p:cNvPr id="29" name="Freeform 939">
              <a:extLst>
                <a:ext uri="{FF2B5EF4-FFF2-40B4-BE49-F238E27FC236}">
                  <a16:creationId xmlns:a16="http://schemas.microsoft.com/office/drawing/2014/main" id="{DEF88DFC-EFAE-A22F-F7C0-7A66E0DFCC56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9145" y="2971463"/>
              <a:ext cx="606984" cy="398333"/>
            </a:xfrm>
            <a:custGeom>
              <a:avLst/>
              <a:gdLst>
                <a:gd name="T0" fmla="*/ 2307 w 2385"/>
                <a:gd name="T1" fmla="*/ 1567 h 1567"/>
                <a:gd name="T2" fmla="*/ 73 w 2385"/>
                <a:gd name="T3" fmla="*/ 1567 h 1567"/>
                <a:gd name="T4" fmla="*/ 0 w 2385"/>
                <a:gd name="T5" fmla="*/ 1494 h 1567"/>
                <a:gd name="T6" fmla="*/ 0 w 2385"/>
                <a:gd name="T7" fmla="*/ 72 h 1567"/>
                <a:gd name="T8" fmla="*/ 73 w 2385"/>
                <a:gd name="T9" fmla="*/ 0 h 1567"/>
                <a:gd name="T10" fmla="*/ 145 w 2385"/>
                <a:gd name="T11" fmla="*/ 72 h 1567"/>
                <a:gd name="T12" fmla="*/ 145 w 2385"/>
                <a:gd name="T13" fmla="*/ 1422 h 1567"/>
                <a:gd name="T14" fmla="*/ 2234 w 2385"/>
                <a:gd name="T15" fmla="*/ 1422 h 1567"/>
                <a:gd name="T16" fmla="*/ 2240 w 2385"/>
                <a:gd name="T17" fmla="*/ 102 h 1567"/>
                <a:gd name="T18" fmla="*/ 2312 w 2385"/>
                <a:gd name="T19" fmla="*/ 30 h 1567"/>
                <a:gd name="T20" fmla="*/ 2313 w 2385"/>
                <a:gd name="T21" fmla="*/ 30 h 1567"/>
                <a:gd name="T22" fmla="*/ 2384 w 2385"/>
                <a:gd name="T23" fmla="*/ 103 h 1567"/>
                <a:gd name="T24" fmla="*/ 2379 w 2385"/>
                <a:gd name="T25" fmla="*/ 1494 h 1567"/>
                <a:gd name="T26" fmla="*/ 2307 w 2385"/>
                <a:gd name="T27" fmla="*/ 1567 h 1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85" h="1567">
                  <a:moveTo>
                    <a:pt x="2307" y="1567"/>
                  </a:moveTo>
                  <a:lnTo>
                    <a:pt x="73" y="1567"/>
                  </a:lnTo>
                  <a:cubicBezTo>
                    <a:pt x="33" y="1567"/>
                    <a:pt x="0" y="1534"/>
                    <a:pt x="0" y="1494"/>
                  </a:cubicBezTo>
                  <a:lnTo>
                    <a:pt x="0" y="72"/>
                  </a:lnTo>
                  <a:cubicBezTo>
                    <a:pt x="0" y="32"/>
                    <a:pt x="33" y="0"/>
                    <a:pt x="73" y="0"/>
                  </a:cubicBezTo>
                  <a:cubicBezTo>
                    <a:pt x="113" y="0"/>
                    <a:pt x="145" y="32"/>
                    <a:pt x="145" y="72"/>
                  </a:cubicBezTo>
                  <a:lnTo>
                    <a:pt x="145" y="1422"/>
                  </a:lnTo>
                  <a:lnTo>
                    <a:pt x="2234" y="1422"/>
                  </a:lnTo>
                  <a:lnTo>
                    <a:pt x="2240" y="102"/>
                  </a:lnTo>
                  <a:cubicBezTo>
                    <a:pt x="2240" y="63"/>
                    <a:pt x="2272" y="30"/>
                    <a:pt x="2312" y="30"/>
                  </a:cubicBezTo>
                  <a:lnTo>
                    <a:pt x="2313" y="30"/>
                  </a:lnTo>
                  <a:cubicBezTo>
                    <a:pt x="2352" y="30"/>
                    <a:pt x="2385" y="63"/>
                    <a:pt x="2384" y="103"/>
                  </a:cubicBezTo>
                  <a:lnTo>
                    <a:pt x="2379" y="1494"/>
                  </a:lnTo>
                  <a:cubicBezTo>
                    <a:pt x="2379" y="1534"/>
                    <a:pt x="2347" y="1567"/>
                    <a:pt x="2307" y="1567"/>
                  </a:cubicBezTo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940">
              <a:extLst>
                <a:ext uri="{FF2B5EF4-FFF2-40B4-BE49-F238E27FC236}">
                  <a16:creationId xmlns:a16="http://schemas.microsoft.com/office/drawing/2014/main" id="{A24D0491-06F7-2E4C-8A0D-CB9FCECDBF7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62384" y="2857654"/>
              <a:ext cx="129617" cy="113809"/>
            </a:xfrm>
            <a:custGeom>
              <a:avLst/>
              <a:gdLst>
                <a:gd name="T0" fmla="*/ 431 w 513"/>
                <a:gd name="T1" fmla="*/ 448 h 448"/>
                <a:gd name="T2" fmla="*/ 385 w 513"/>
                <a:gd name="T3" fmla="*/ 430 h 448"/>
                <a:gd name="T4" fmla="*/ 35 w 513"/>
                <a:gd name="T5" fmla="*/ 137 h 448"/>
                <a:gd name="T6" fmla="*/ 26 w 513"/>
                <a:gd name="T7" fmla="*/ 35 h 448"/>
                <a:gd name="T8" fmla="*/ 128 w 513"/>
                <a:gd name="T9" fmla="*/ 26 h 448"/>
                <a:gd name="T10" fmla="*/ 478 w 513"/>
                <a:gd name="T11" fmla="*/ 320 h 448"/>
                <a:gd name="T12" fmla="*/ 487 w 513"/>
                <a:gd name="T13" fmla="*/ 422 h 448"/>
                <a:gd name="T14" fmla="*/ 431 w 513"/>
                <a:gd name="T15" fmla="*/ 448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3" h="448">
                  <a:moveTo>
                    <a:pt x="431" y="448"/>
                  </a:moveTo>
                  <a:cubicBezTo>
                    <a:pt x="415" y="448"/>
                    <a:pt x="399" y="442"/>
                    <a:pt x="385" y="430"/>
                  </a:cubicBezTo>
                  <a:lnTo>
                    <a:pt x="35" y="137"/>
                  </a:lnTo>
                  <a:cubicBezTo>
                    <a:pt x="4" y="111"/>
                    <a:pt x="0" y="66"/>
                    <a:pt x="26" y="35"/>
                  </a:cubicBezTo>
                  <a:cubicBezTo>
                    <a:pt x="52" y="4"/>
                    <a:pt x="97" y="0"/>
                    <a:pt x="128" y="26"/>
                  </a:cubicBezTo>
                  <a:lnTo>
                    <a:pt x="478" y="320"/>
                  </a:lnTo>
                  <a:cubicBezTo>
                    <a:pt x="509" y="345"/>
                    <a:pt x="513" y="391"/>
                    <a:pt x="487" y="422"/>
                  </a:cubicBezTo>
                  <a:cubicBezTo>
                    <a:pt x="473" y="439"/>
                    <a:pt x="452" y="448"/>
                    <a:pt x="431" y="448"/>
                  </a:cubicBezTo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 941">
              <a:extLst>
                <a:ext uri="{FF2B5EF4-FFF2-40B4-BE49-F238E27FC236}">
                  <a16:creationId xmlns:a16="http://schemas.microsoft.com/office/drawing/2014/main" id="{0F5934E2-1D0C-32FD-35B9-F662D7EB990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6432" y="2633196"/>
              <a:ext cx="572209" cy="325622"/>
            </a:xfrm>
            <a:custGeom>
              <a:avLst/>
              <a:gdLst>
                <a:gd name="T0" fmla="*/ 82 w 2256"/>
                <a:gd name="T1" fmla="*/ 1285 h 1285"/>
                <a:gd name="T2" fmla="*/ 25 w 2256"/>
                <a:gd name="T3" fmla="*/ 1258 h 1285"/>
                <a:gd name="T4" fmla="*/ 36 w 2256"/>
                <a:gd name="T5" fmla="*/ 1156 h 1285"/>
                <a:gd name="T6" fmla="*/ 1449 w 2256"/>
                <a:gd name="T7" fmla="*/ 22 h 1285"/>
                <a:gd name="T8" fmla="*/ 1541 w 2256"/>
                <a:gd name="T9" fmla="*/ 23 h 1285"/>
                <a:gd name="T10" fmla="*/ 2221 w 2256"/>
                <a:gd name="T11" fmla="*/ 597 h 1285"/>
                <a:gd name="T12" fmla="*/ 2230 w 2256"/>
                <a:gd name="T13" fmla="*/ 699 h 1285"/>
                <a:gd name="T14" fmla="*/ 2128 w 2256"/>
                <a:gd name="T15" fmla="*/ 708 h 1285"/>
                <a:gd name="T16" fmla="*/ 1492 w 2256"/>
                <a:gd name="T17" fmla="*/ 172 h 1285"/>
                <a:gd name="T18" fmla="*/ 127 w 2256"/>
                <a:gd name="T19" fmla="*/ 1269 h 1285"/>
                <a:gd name="T20" fmla="*/ 82 w 2256"/>
                <a:gd name="T21" fmla="*/ 1285 h 1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56" h="1285">
                  <a:moveTo>
                    <a:pt x="82" y="1285"/>
                  </a:moveTo>
                  <a:cubicBezTo>
                    <a:pt x="61" y="1285"/>
                    <a:pt x="40" y="1276"/>
                    <a:pt x="25" y="1258"/>
                  </a:cubicBezTo>
                  <a:cubicBezTo>
                    <a:pt x="0" y="1227"/>
                    <a:pt x="5" y="1181"/>
                    <a:pt x="36" y="1156"/>
                  </a:cubicBezTo>
                  <a:lnTo>
                    <a:pt x="1449" y="22"/>
                  </a:lnTo>
                  <a:cubicBezTo>
                    <a:pt x="1476" y="0"/>
                    <a:pt x="1514" y="1"/>
                    <a:pt x="1541" y="23"/>
                  </a:cubicBezTo>
                  <a:cubicBezTo>
                    <a:pt x="1544" y="26"/>
                    <a:pt x="1906" y="333"/>
                    <a:pt x="2221" y="597"/>
                  </a:cubicBezTo>
                  <a:cubicBezTo>
                    <a:pt x="2251" y="623"/>
                    <a:pt x="2256" y="669"/>
                    <a:pt x="2230" y="699"/>
                  </a:cubicBezTo>
                  <a:cubicBezTo>
                    <a:pt x="2204" y="730"/>
                    <a:pt x="2158" y="734"/>
                    <a:pt x="2128" y="708"/>
                  </a:cubicBezTo>
                  <a:cubicBezTo>
                    <a:pt x="1879" y="500"/>
                    <a:pt x="1600" y="264"/>
                    <a:pt x="1492" y="172"/>
                  </a:cubicBezTo>
                  <a:lnTo>
                    <a:pt x="127" y="1269"/>
                  </a:lnTo>
                  <a:cubicBezTo>
                    <a:pt x="114" y="1280"/>
                    <a:pt x="98" y="1285"/>
                    <a:pt x="82" y="1285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reeform 942">
              <a:extLst>
                <a:ext uri="{FF2B5EF4-FFF2-40B4-BE49-F238E27FC236}">
                  <a16:creationId xmlns:a16="http://schemas.microsoft.com/office/drawing/2014/main" id="{228583CD-1918-282C-47A3-60A16DD2E0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952901" y="2664810"/>
              <a:ext cx="37936" cy="221296"/>
            </a:xfrm>
            <a:custGeom>
              <a:avLst/>
              <a:gdLst>
                <a:gd name="T0" fmla="*/ 73 w 145"/>
                <a:gd name="T1" fmla="*/ 864 h 864"/>
                <a:gd name="T2" fmla="*/ 0 w 145"/>
                <a:gd name="T3" fmla="*/ 791 h 864"/>
                <a:gd name="T4" fmla="*/ 0 w 145"/>
                <a:gd name="T5" fmla="*/ 72 h 864"/>
                <a:gd name="T6" fmla="*/ 73 w 145"/>
                <a:gd name="T7" fmla="*/ 0 h 864"/>
                <a:gd name="T8" fmla="*/ 145 w 145"/>
                <a:gd name="T9" fmla="*/ 72 h 864"/>
                <a:gd name="T10" fmla="*/ 145 w 145"/>
                <a:gd name="T11" fmla="*/ 791 h 864"/>
                <a:gd name="T12" fmla="*/ 73 w 145"/>
                <a:gd name="T13" fmla="*/ 864 h 8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864">
                  <a:moveTo>
                    <a:pt x="73" y="864"/>
                  </a:moveTo>
                  <a:cubicBezTo>
                    <a:pt x="33" y="864"/>
                    <a:pt x="0" y="831"/>
                    <a:pt x="0" y="791"/>
                  </a:cubicBezTo>
                  <a:lnTo>
                    <a:pt x="0" y="72"/>
                  </a:lnTo>
                  <a:cubicBezTo>
                    <a:pt x="0" y="32"/>
                    <a:pt x="33" y="0"/>
                    <a:pt x="73" y="0"/>
                  </a:cubicBezTo>
                  <a:cubicBezTo>
                    <a:pt x="113" y="0"/>
                    <a:pt x="145" y="32"/>
                    <a:pt x="145" y="72"/>
                  </a:cubicBezTo>
                  <a:lnTo>
                    <a:pt x="145" y="791"/>
                  </a:lnTo>
                  <a:cubicBezTo>
                    <a:pt x="145" y="831"/>
                    <a:pt x="113" y="864"/>
                    <a:pt x="73" y="864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 943">
              <a:extLst>
                <a:ext uri="{FF2B5EF4-FFF2-40B4-BE49-F238E27FC236}">
                  <a16:creationId xmlns:a16="http://schemas.microsoft.com/office/drawing/2014/main" id="{FF021F77-90AA-7D21-8276-0B0DB3B17BD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7543" y="2702746"/>
              <a:ext cx="37936" cy="113809"/>
            </a:xfrm>
            <a:custGeom>
              <a:avLst/>
              <a:gdLst>
                <a:gd name="T0" fmla="*/ 72 w 145"/>
                <a:gd name="T1" fmla="*/ 446 h 446"/>
                <a:gd name="T2" fmla="*/ 0 w 145"/>
                <a:gd name="T3" fmla="*/ 374 h 446"/>
                <a:gd name="T4" fmla="*/ 0 w 145"/>
                <a:gd name="T5" fmla="*/ 72 h 446"/>
                <a:gd name="T6" fmla="*/ 72 w 145"/>
                <a:gd name="T7" fmla="*/ 0 h 446"/>
                <a:gd name="T8" fmla="*/ 145 w 145"/>
                <a:gd name="T9" fmla="*/ 72 h 446"/>
                <a:gd name="T10" fmla="*/ 145 w 145"/>
                <a:gd name="T11" fmla="*/ 374 h 446"/>
                <a:gd name="T12" fmla="*/ 72 w 145"/>
                <a:gd name="T13" fmla="*/ 446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446">
                  <a:moveTo>
                    <a:pt x="72" y="446"/>
                  </a:moveTo>
                  <a:cubicBezTo>
                    <a:pt x="32" y="446"/>
                    <a:pt x="0" y="414"/>
                    <a:pt x="0" y="374"/>
                  </a:cubicBezTo>
                  <a:lnTo>
                    <a:pt x="0" y="72"/>
                  </a:lnTo>
                  <a:cubicBezTo>
                    <a:pt x="0" y="33"/>
                    <a:pt x="32" y="0"/>
                    <a:pt x="72" y="0"/>
                  </a:cubicBezTo>
                  <a:cubicBezTo>
                    <a:pt x="112" y="0"/>
                    <a:pt x="145" y="33"/>
                    <a:pt x="145" y="72"/>
                  </a:cubicBezTo>
                  <a:lnTo>
                    <a:pt x="145" y="374"/>
                  </a:lnTo>
                  <a:cubicBezTo>
                    <a:pt x="145" y="414"/>
                    <a:pt x="112" y="446"/>
                    <a:pt x="72" y="446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 944">
              <a:extLst>
                <a:ext uri="{FF2B5EF4-FFF2-40B4-BE49-F238E27FC236}">
                  <a16:creationId xmlns:a16="http://schemas.microsoft.com/office/drawing/2014/main" id="{95AA3A6C-38C4-3678-D5B2-247878F7274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2252" y="2649004"/>
              <a:ext cx="170714" cy="34776"/>
            </a:xfrm>
            <a:custGeom>
              <a:avLst/>
              <a:gdLst>
                <a:gd name="T0" fmla="*/ 591 w 664"/>
                <a:gd name="T1" fmla="*/ 145 h 145"/>
                <a:gd name="T2" fmla="*/ 73 w 664"/>
                <a:gd name="T3" fmla="*/ 145 h 145"/>
                <a:gd name="T4" fmla="*/ 0 w 664"/>
                <a:gd name="T5" fmla="*/ 72 h 145"/>
                <a:gd name="T6" fmla="*/ 73 w 664"/>
                <a:gd name="T7" fmla="*/ 0 h 145"/>
                <a:gd name="T8" fmla="*/ 591 w 664"/>
                <a:gd name="T9" fmla="*/ 0 h 145"/>
                <a:gd name="T10" fmla="*/ 664 w 664"/>
                <a:gd name="T11" fmla="*/ 72 h 145"/>
                <a:gd name="T12" fmla="*/ 591 w 664"/>
                <a:gd name="T1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4" h="145">
                  <a:moveTo>
                    <a:pt x="591" y="145"/>
                  </a:moveTo>
                  <a:lnTo>
                    <a:pt x="73" y="145"/>
                  </a:lnTo>
                  <a:cubicBezTo>
                    <a:pt x="33" y="145"/>
                    <a:pt x="0" y="112"/>
                    <a:pt x="0" y="72"/>
                  </a:cubicBezTo>
                  <a:cubicBezTo>
                    <a:pt x="0" y="32"/>
                    <a:pt x="33" y="0"/>
                    <a:pt x="73" y="0"/>
                  </a:cubicBezTo>
                  <a:lnTo>
                    <a:pt x="591" y="0"/>
                  </a:lnTo>
                  <a:cubicBezTo>
                    <a:pt x="631" y="0"/>
                    <a:pt x="664" y="32"/>
                    <a:pt x="664" y="72"/>
                  </a:cubicBezTo>
                  <a:cubicBezTo>
                    <a:pt x="664" y="112"/>
                    <a:pt x="631" y="145"/>
                    <a:pt x="591" y="145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 945">
              <a:extLst>
                <a:ext uri="{FF2B5EF4-FFF2-40B4-BE49-F238E27FC236}">
                  <a16:creationId xmlns:a16="http://schemas.microsoft.com/office/drawing/2014/main" id="{70D76ED3-4F77-6569-F8AA-5A16A37F3E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5982" y="2743845"/>
              <a:ext cx="613306" cy="275040"/>
            </a:xfrm>
            <a:custGeom>
              <a:avLst/>
              <a:gdLst>
                <a:gd name="T0" fmla="*/ 2321 w 2402"/>
                <a:gd name="T1" fmla="*/ 1079 h 1079"/>
                <a:gd name="T2" fmla="*/ 2274 w 2402"/>
                <a:gd name="T3" fmla="*/ 1062 h 1079"/>
                <a:gd name="T4" fmla="*/ 1208 w 2402"/>
                <a:gd name="T5" fmla="*/ 172 h 1079"/>
                <a:gd name="T6" fmla="*/ 127 w 2402"/>
                <a:gd name="T7" fmla="*/ 1035 h 1079"/>
                <a:gd name="T8" fmla="*/ 25 w 2402"/>
                <a:gd name="T9" fmla="*/ 1024 h 1079"/>
                <a:gd name="T10" fmla="*/ 37 w 2402"/>
                <a:gd name="T11" fmla="*/ 922 h 1079"/>
                <a:gd name="T12" fmla="*/ 1164 w 2402"/>
                <a:gd name="T13" fmla="*/ 22 h 1079"/>
                <a:gd name="T14" fmla="*/ 1255 w 2402"/>
                <a:gd name="T15" fmla="*/ 23 h 1079"/>
                <a:gd name="T16" fmla="*/ 2367 w 2402"/>
                <a:gd name="T17" fmla="*/ 951 h 1079"/>
                <a:gd name="T18" fmla="*/ 2377 w 2402"/>
                <a:gd name="T19" fmla="*/ 1053 h 1079"/>
                <a:gd name="T20" fmla="*/ 2321 w 2402"/>
                <a:gd name="T21" fmla="*/ 1079 h 10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02" h="1079">
                  <a:moveTo>
                    <a:pt x="2321" y="1079"/>
                  </a:moveTo>
                  <a:cubicBezTo>
                    <a:pt x="2304" y="1079"/>
                    <a:pt x="2288" y="1074"/>
                    <a:pt x="2274" y="1062"/>
                  </a:cubicBezTo>
                  <a:lnTo>
                    <a:pt x="1208" y="172"/>
                  </a:lnTo>
                  <a:lnTo>
                    <a:pt x="127" y="1035"/>
                  </a:lnTo>
                  <a:cubicBezTo>
                    <a:pt x="96" y="1060"/>
                    <a:pt x="50" y="1055"/>
                    <a:pt x="25" y="1024"/>
                  </a:cubicBezTo>
                  <a:cubicBezTo>
                    <a:pt x="0" y="992"/>
                    <a:pt x="5" y="947"/>
                    <a:pt x="37" y="922"/>
                  </a:cubicBezTo>
                  <a:lnTo>
                    <a:pt x="1164" y="22"/>
                  </a:lnTo>
                  <a:cubicBezTo>
                    <a:pt x="1190" y="0"/>
                    <a:pt x="1229" y="1"/>
                    <a:pt x="1255" y="23"/>
                  </a:cubicBezTo>
                  <a:lnTo>
                    <a:pt x="2367" y="951"/>
                  </a:lnTo>
                  <a:cubicBezTo>
                    <a:pt x="2398" y="977"/>
                    <a:pt x="2402" y="1022"/>
                    <a:pt x="2377" y="1053"/>
                  </a:cubicBezTo>
                  <a:cubicBezTo>
                    <a:pt x="2362" y="1071"/>
                    <a:pt x="2341" y="1079"/>
                    <a:pt x="2321" y="1079"/>
                  </a:cubicBezTo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8F39A519-03BB-9A97-743C-CD581B9D61BA}"/>
              </a:ext>
            </a:extLst>
          </p:cNvPr>
          <p:cNvSpPr txBox="1"/>
          <p:nvPr/>
        </p:nvSpPr>
        <p:spPr>
          <a:xfrm>
            <a:off x="8558390" y="4268855"/>
            <a:ext cx="259128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>
                <a:latin typeface="+mj-lt"/>
              </a:rPr>
              <a:t>Days in home</a:t>
            </a:r>
            <a:endParaRPr lang="en-GB" sz="2800" b="1" dirty="0">
              <a:latin typeface="+mj-lt"/>
            </a:endParaRPr>
          </a:p>
          <a:p>
            <a:pPr algn="ctr"/>
            <a:r>
              <a:rPr lang="en-GB" b="1" dirty="0">
                <a:latin typeface="+mj-lt"/>
              </a:rPr>
              <a:t>How long mail is live in the hom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95FA1E4-A810-5141-64EB-4ADB645789A0}"/>
              </a:ext>
            </a:extLst>
          </p:cNvPr>
          <p:cNvSpPr txBox="1"/>
          <p:nvPr/>
        </p:nvSpPr>
        <p:spPr>
          <a:xfrm>
            <a:off x="9229322" y="3045267"/>
            <a:ext cx="1266693" cy="7540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4300" b="1" dirty="0">
                <a:latin typeface="+mj-lt"/>
              </a:rPr>
              <a:t>8.03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C4C6E78-5932-E68C-A1F8-BB4BC7541DBB}"/>
              </a:ext>
            </a:extLst>
          </p:cNvPr>
          <p:cNvSpPr txBox="1"/>
          <p:nvPr/>
        </p:nvSpPr>
        <p:spPr>
          <a:xfrm>
            <a:off x="6365158" y="5724042"/>
            <a:ext cx="142481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chemeClr val="accent1"/>
                </a:solidFill>
              </a:rPr>
              <a:t>Average = 2 min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082E211-5E73-1EF9-3E1D-9F6271902347}"/>
              </a:ext>
            </a:extLst>
          </p:cNvPr>
          <p:cNvSpPr txBox="1"/>
          <p:nvPr/>
        </p:nvSpPr>
        <p:spPr>
          <a:xfrm>
            <a:off x="3833115" y="5724042"/>
            <a:ext cx="11715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chemeClr val="accent1"/>
                </a:solidFill>
              </a:rPr>
              <a:t>Average = 4.4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41967B7-D673-0481-921E-A7F16B776A26}"/>
              </a:ext>
            </a:extLst>
          </p:cNvPr>
          <p:cNvSpPr txBox="1"/>
          <p:nvPr/>
        </p:nvSpPr>
        <p:spPr>
          <a:xfrm>
            <a:off x="9268264" y="5724042"/>
            <a:ext cx="11715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chemeClr val="accent1"/>
                </a:solidFill>
              </a:rPr>
              <a:t>Average = 7.5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0274302-F179-5809-5647-06AB95365D3A}"/>
              </a:ext>
            </a:extLst>
          </p:cNvPr>
          <p:cNvSpPr txBox="1"/>
          <p:nvPr/>
        </p:nvSpPr>
        <p:spPr>
          <a:xfrm>
            <a:off x="1128748" y="5724042"/>
            <a:ext cx="126291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chemeClr val="accent1"/>
                </a:solidFill>
              </a:rPr>
              <a:t>Average = 1.13</a:t>
            </a:r>
          </a:p>
        </p:txBody>
      </p:sp>
    </p:spTree>
    <p:extLst>
      <p:ext uri="{BB962C8B-B14F-4D97-AF65-F5344CB8AC3E}">
        <p14:creationId xmlns:p14="http://schemas.microsoft.com/office/powerpoint/2010/main" val="21863041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993F07-C5F4-B190-8303-86DC920DB9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MMERCIAL ENGAGEMEN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6EBA193-71EF-031B-EE30-1827B071A60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Retail Mail June-August drives strong commercial actions amongst those </a:t>
            </a:r>
            <a:r>
              <a:rPr lang="en-GB"/>
              <a:t>getting mail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5AB08F-90E3-7F06-EE50-D30B4261280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5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1B2CFFB-B63C-C69D-0FF4-0ECF753F377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Source: JICMAIL, Item Data, Advertising Mail, Retailer, June-August, n=259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AEE04F4-7429-2AB0-F6BE-A89A0F3295B3}"/>
              </a:ext>
            </a:extLst>
          </p:cNvPr>
          <p:cNvSpPr txBox="1"/>
          <p:nvPr/>
        </p:nvSpPr>
        <p:spPr>
          <a:xfrm>
            <a:off x="2149859" y="2353480"/>
            <a:ext cx="10975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000" b="1" dirty="0">
                <a:latin typeface="Century Gothic"/>
              </a:rPr>
              <a:t>35</a:t>
            </a:r>
            <a:r>
              <a:rPr lang="en-GB" sz="4000" b="1" baseline="30000" dirty="0">
                <a:solidFill>
                  <a:schemeClr val="accent1"/>
                </a:solidFill>
                <a:latin typeface="Century Gothic"/>
              </a:rPr>
              <a:t>%</a:t>
            </a:r>
            <a:endParaRPr kumimoji="0" lang="en-GB" sz="4000" b="1" i="0" u="none" strike="noStrike" kern="1200" cap="none" spc="0" normalizeH="0" baseline="30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entury Gothic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0C125B2-5437-90C3-F00B-2BA4AFA5B015}"/>
              </a:ext>
            </a:extLst>
          </p:cNvPr>
          <p:cNvSpPr txBox="1"/>
          <p:nvPr/>
        </p:nvSpPr>
        <p:spPr>
          <a:xfrm>
            <a:off x="9986854" y="2967038"/>
            <a:ext cx="105189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000" b="1" dirty="0">
                <a:latin typeface="Century Gothic"/>
              </a:rPr>
              <a:t>14</a:t>
            </a:r>
            <a:r>
              <a:rPr lang="en-GB" sz="4000" b="1" baseline="30000" dirty="0">
                <a:solidFill>
                  <a:schemeClr val="accent1"/>
                </a:solidFill>
                <a:latin typeface="Century Gothic"/>
              </a:rPr>
              <a:t>%</a:t>
            </a:r>
            <a:endParaRPr kumimoji="0" lang="en-GB" sz="4000" b="1" i="0" u="none" strike="noStrike" kern="1200" cap="none" spc="0" normalizeH="0" baseline="30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entury Gothic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AE4CD0C-4269-CB68-FFB8-F080258C1D80}"/>
              </a:ext>
            </a:extLst>
          </p:cNvPr>
          <p:cNvSpPr txBox="1"/>
          <p:nvPr/>
        </p:nvSpPr>
        <p:spPr>
          <a:xfrm>
            <a:off x="623417" y="4536885"/>
            <a:ext cx="243956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latin typeface="+mj-lt"/>
              </a:rPr>
              <a:t>Take a commercial action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3C1403EB-4BCC-FDA9-874E-B5AE343BF51E}"/>
              </a:ext>
            </a:extLst>
          </p:cNvPr>
          <p:cNvSpPr txBox="1"/>
          <p:nvPr/>
        </p:nvSpPr>
        <p:spPr>
          <a:xfrm>
            <a:off x="5293729" y="4537146"/>
            <a:ext cx="2683523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latin typeface="+mj-lt"/>
              </a:rPr>
              <a:t>… buy something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buy something, use a voucher, planned a large purchase, visited sender’s shop</a:t>
            </a:r>
          </a:p>
          <a:p>
            <a:pPr algn="ctr"/>
            <a:endParaRPr lang="en-GB" sz="2000" b="1" dirty="0">
              <a:latin typeface="+mj-lt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932DE57B-8545-D427-0898-1C51A6319D20}"/>
              </a:ext>
            </a:extLst>
          </p:cNvPr>
          <p:cNvSpPr txBox="1"/>
          <p:nvPr/>
        </p:nvSpPr>
        <p:spPr>
          <a:xfrm>
            <a:off x="5680929" y="2512222"/>
            <a:ext cx="10975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000" b="1" dirty="0">
                <a:latin typeface="Century Gothic"/>
              </a:rPr>
              <a:t>15</a:t>
            </a:r>
            <a:r>
              <a:rPr lang="en-GB" sz="4000" b="1" baseline="30000" dirty="0">
                <a:solidFill>
                  <a:schemeClr val="accent1"/>
                </a:solidFill>
                <a:latin typeface="Century Gothic"/>
              </a:rPr>
              <a:t>%</a:t>
            </a:r>
            <a:endParaRPr kumimoji="0" lang="en-GB" sz="4000" b="1" i="0" u="none" strike="noStrike" kern="1200" cap="none" spc="0" normalizeH="0" baseline="30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entury Gothic"/>
            </a:endParaRPr>
          </a:p>
        </p:txBody>
      </p:sp>
      <p:grpSp>
        <p:nvGrpSpPr>
          <p:cNvPr id="72" name="Arrow3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9AC11AC-637F-1EAE-5874-D8F5F0FEF484}"/>
              </a:ext>
            </a:extLst>
          </p:cNvPr>
          <p:cNvGrpSpPr>
            <a:grpSpLocks noChangeAspect="1"/>
          </p:cNvGrpSpPr>
          <p:nvPr/>
        </p:nvGrpSpPr>
        <p:grpSpPr>
          <a:xfrm>
            <a:off x="4237345" y="3487756"/>
            <a:ext cx="783592" cy="519292"/>
            <a:chOff x="9712467" y="5425536"/>
            <a:chExt cx="783592" cy="519292"/>
          </a:xfrm>
          <a:solidFill>
            <a:schemeClr val="bg1">
              <a:lumMod val="85000"/>
            </a:schemeClr>
          </a:solidFill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8494D107-6B5D-2A85-DD3F-97480956C874}"/>
                </a:ext>
              </a:extLst>
            </p:cNvPr>
            <p:cNvSpPr/>
            <p:nvPr/>
          </p:nvSpPr>
          <p:spPr>
            <a:xfrm rot="2400000">
              <a:off x="9971378" y="5425536"/>
              <a:ext cx="524681" cy="519292"/>
            </a:xfrm>
            <a:custGeom>
              <a:avLst/>
              <a:gdLst>
                <a:gd name="connsiteX0" fmla="*/ 11197 w 524681"/>
                <a:gd name="connsiteY0" fmla="*/ 11198 h 519292"/>
                <a:gd name="connsiteX1" fmla="*/ 38230 w 524681"/>
                <a:gd name="connsiteY1" fmla="*/ 0 h 519292"/>
                <a:gd name="connsiteX2" fmla="*/ 479592 w 524681"/>
                <a:gd name="connsiteY2" fmla="*/ 0 h 519292"/>
                <a:gd name="connsiteX3" fmla="*/ 506625 w 524681"/>
                <a:gd name="connsiteY3" fmla="*/ 11197 h 519292"/>
                <a:gd name="connsiteX4" fmla="*/ 510102 w 524681"/>
                <a:gd name="connsiteY4" fmla="*/ 19591 h 519292"/>
                <a:gd name="connsiteX5" fmla="*/ 517761 w 524681"/>
                <a:gd name="connsiteY5" fmla="*/ 24471 h 519292"/>
                <a:gd name="connsiteX6" fmla="*/ 524094 w 524681"/>
                <a:gd name="connsiteY6" fmla="*/ 53038 h 519292"/>
                <a:gd name="connsiteX7" fmla="*/ 447453 w 524681"/>
                <a:gd name="connsiteY7" fmla="*/ 487695 h 519292"/>
                <a:gd name="connsiteX8" fmla="*/ 403165 w 524681"/>
                <a:gd name="connsiteY8" fmla="*/ 518705 h 519292"/>
                <a:gd name="connsiteX9" fmla="*/ 372154 w 524681"/>
                <a:gd name="connsiteY9" fmla="*/ 474417 h 519292"/>
                <a:gd name="connsiteX10" fmla="*/ 442325 w 524681"/>
                <a:gd name="connsiteY10" fmla="*/ 76460 h 519292"/>
                <a:gd name="connsiteX11" fmla="*/ 38230 w 524681"/>
                <a:gd name="connsiteY11" fmla="*/ 76460 h 519292"/>
                <a:gd name="connsiteX12" fmla="*/ 0 w 524681"/>
                <a:gd name="connsiteY12" fmla="*/ 38230 h 519292"/>
                <a:gd name="connsiteX13" fmla="*/ 11197 w 524681"/>
                <a:gd name="connsiteY13" fmla="*/ 11198 h 519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4681" h="519292">
                  <a:moveTo>
                    <a:pt x="11197" y="11198"/>
                  </a:moveTo>
                  <a:cubicBezTo>
                    <a:pt x="18116" y="4279"/>
                    <a:pt x="27673" y="0"/>
                    <a:pt x="38230" y="0"/>
                  </a:cubicBezTo>
                  <a:lnTo>
                    <a:pt x="479592" y="0"/>
                  </a:lnTo>
                  <a:cubicBezTo>
                    <a:pt x="490149" y="0"/>
                    <a:pt x="499706" y="4279"/>
                    <a:pt x="506625" y="11197"/>
                  </a:cubicBezTo>
                  <a:lnTo>
                    <a:pt x="510102" y="19591"/>
                  </a:lnTo>
                  <a:lnTo>
                    <a:pt x="517761" y="24471"/>
                  </a:lnTo>
                  <a:cubicBezTo>
                    <a:pt x="523373" y="32486"/>
                    <a:pt x="525927" y="42641"/>
                    <a:pt x="524094" y="53038"/>
                  </a:cubicBezTo>
                  <a:lnTo>
                    <a:pt x="447453" y="487695"/>
                  </a:lnTo>
                  <a:cubicBezTo>
                    <a:pt x="443786" y="508487"/>
                    <a:pt x="423958" y="522372"/>
                    <a:pt x="403165" y="518705"/>
                  </a:cubicBezTo>
                  <a:cubicBezTo>
                    <a:pt x="382372" y="515038"/>
                    <a:pt x="368488" y="495210"/>
                    <a:pt x="372154" y="474417"/>
                  </a:cubicBezTo>
                  <a:lnTo>
                    <a:pt x="442325" y="76460"/>
                  </a:lnTo>
                  <a:lnTo>
                    <a:pt x="38230" y="76460"/>
                  </a:lnTo>
                  <a:cubicBezTo>
                    <a:pt x="17116" y="76460"/>
                    <a:pt x="0" y="59344"/>
                    <a:pt x="0" y="38230"/>
                  </a:cubicBezTo>
                  <a:cubicBezTo>
                    <a:pt x="0" y="27673"/>
                    <a:pt x="4279" y="18115"/>
                    <a:pt x="11197" y="11198"/>
                  </a:cubicBezTo>
                  <a:close/>
                </a:path>
              </a:pathLst>
            </a:custGeom>
            <a:grpFill/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4AF20E2F-D898-8C09-62D7-26D971386DC2}"/>
                </a:ext>
              </a:extLst>
            </p:cNvPr>
            <p:cNvSpPr/>
            <p:nvPr/>
          </p:nvSpPr>
          <p:spPr>
            <a:xfrm rot="2400000">
              <a:off x="9712467" y="5425536"/>
              <a:ext cx="524681" cy="519292"/>
            </a:xfrm>
            <a:custGeom>
              <a:avLst/>
              <a:gdLst>
                <a:gd name="connsiteX0" fmla="*/ 11197 w 524681"/>
                <a:gd name="connsiteY0" fmla="*/ 11198 h 519292"/>
                <a:gd name="connsiteX1" fmla="*/ 38230 w 524681"/>
                <a:gd name="connsiteY1" fmla="*/ 0 h 519292"/>
                <a:gd name="connsiteX2" fmla="*/ 479592 w 524681"/>
                <a:gd name="connsiteY2" fmla="*/ 0 h 519292"/>
                <a:gd name="connsiteX3" fmla="*/ 506625 w 524681"/>
                <a:gd name="connsiteY3" fmla="*/ 11197 h 519292"/>
                <a:gd name="connsiteX4" fmla="*/ 510102 w 524681"/>
                <a:gd name="connsiteY4" fmla="*/ 19591 h 519292"/>
                <a:gd name="connsiteX5" fmla="*/ 517761 w 524681"/>
                <a:gd name="connsiteY5" fmla="*/ 24471 h 519292"/>
                <a:gd name="connsiteX6" fmla="*/ 524094 w 524681"/>
                <a:gd name="connsiteY6" fmla="*/ 53038 h 519292"/>
                <a:gd name="connsiteX7" fmla="*/ 447453 w 524681"/>
                <a:gd name="connsiteY7" fmla="*/ 487695 h 519292"/>
                <a:gd name="connsiteX8" fmla="*/ 403165 w 524681"/>
                <a:gd name="connsiteY8" fmla="*/ 518705 h 519292"/>
                <a:gd name="connsiteX9" fmla="*/ 372154 w 524681"/>
                <a:gd name="connsiteY9" fmla="*/ 474417 h 519292"/>
                <a:gd name="connsiteX10" fmla="*/ 442325 w 524681"/>
                <a:gd name="connsiteY10" fmla="*/ 76460 h 519292"/>
                <a:gd name="connsiteX11" fmla="*/ 38230 w 524681"/>
                <a:gd name="connsiteY11" fmla="*/ 76460 h 519292"/>
                <a:gd name="connsiteX12" fmla="*/ 0 w 524681"/>
                <a:gd name="connsiteY12" fmla="*/ 38230 h 519292"/>
                <a:gd name="connsiteX13" fmla="*/ 11197 w 524681"/>
                <a:gd name="connsiteY13" fmla="*/ 11198 h 519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4681" h="519292">
                  <a:moveTo>
                    <a:pt x="11197" y="11198"/>
                  </a:moveTo>
                  <a:cubicBezTo>
                    <a:pt x="18116" y="4279"/>
                    <a:pt x="27673" y="0"/>
                    <a:pt x="38230" y="0"/>
                  </a:cubicBezTo>
                  <a:lnTo>
                    <a:pt x="479592" y="0"/>
                  </a:lnTo>
                  <a:cubicBezTo>
                    <a:pt x="490149" y="0"/>
                    <a:pt x="499706" y="4279"/>
                    <a:pt x="506625" y="11197"/>
                  </a:cubicBezTo>
                  <a:lnTo>
                    <a:pt x="510102" y="19591"/>
                  </a:lnTo>
                  <a:lnTo>
                    <a:pt x="517761" y="24471"/>
                  </a:lnTo>
                  <a:cubicBezTo>
                    <a:pt x="523373" y="32486"/>
                    <a:pt x="525927" y="42641"/>
                    <a:pt x="524094" y="53038"/>
                  </a:cubicBezTo>
                  <a:lnTo>
                    <a:pt x="447453" y="487695"/>
                  </a:lnTo>
                  <a:cubicBezTo>
                    <a:pt x="443786" y="508487"/>
                    <a:pt x="423958" y="522372"/>
                    <a:pt x="403165" y="518705"/>
                  </a:cubicBezTo>
                  <a:cubicBezTo>
                    <a:pt x="382372" y="515038"/>
                    <a:pt x="368488" y="495210"/>
                    <a:pt x="372154" y="474417"/>
                  </a:cubicBezTo>
                  <a:lnTo>
                    <a:pt x="442325" y="76460"/>
                  </a:lnTo>
                  <a:lnTo>
                    <a:pt x="38230" y="76460"/>
                  </a:lnTo>
                  <a:cubicBezTo>
                    <a:pt x="17116" y="76460"/>
                    <a:pt x="0" y="59344"/>
                    <a:pt x="0" y="38230"/>
                  </a:cubicBezTo>
                  <a:cubicBezTo>
                    <a:pt x="0" y="27673"/>
                    <a:pt x="4279" y="18115"/>
                    <a:pt x="11197" y="11198"/>
                  </a:cubicBezTo>
                  <a:close/>
                </a:path>
              </a:pathLst>
            </a:custGeom>
            <a:grpFill/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5" name="TextBox 74">
            <a:extLst>
              <a:ext uri="{FF2B5EF4-FFF2-40B4-BE49-F238E27FC236}">
                <a16:creationId xmlns:a16="http://schemas.microsoft.com/office/drawing/2014/main" id="{74E6D4A4-0CEA-A3BE-B1C7-3C58E1E3ED24}"/>
              </a:ext>
            </a:extLst>
          </p:cNvPr>
          <p:cNvSpPr txBox="1"/>
          <p:nvPr/>
        </p:nvSpPr>
        <p:spPr>
          <a:xfrm>
            <a:off x="3087607" y="4139603"/>
            <a:ext cx="20286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/>
              <a:t>The 35% taking an action go on to…</a:t>
            </a:r>
          </a:p>
        </p:txBody>
      </p:sp>
      <p:grpSp>
        <p:nvGrpSpPr>
          <p:cNvPr id="76" name="Arrow33 - 1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44403F-68F3-20F5-CE30-E52C67D3B448}"/>
              </a:ext>
            </a:extLst>
          </p:cNvPr>
          <p:cNvGrpSpPr>
            <a:grpSpLocks noChangeAspect="1"/>
          </p:cNvGrpSpPr>
          <p:nvPr/>
        </p:nvGrpSpPr>
        <p:grpSpPr>
          <a:xfrm>
            <a:off x="3686827" y="3487756"/>
            <a:ext cx="783592" cy="519292"/>
            <a:chOff x="9712467" y="5425536"/>
            <a:chExt cx="783592" cy="519292"/>
          </a:xfrm>
          <a:solidFill>
            <a:schemeClr val="bg1">
              <a:lumMod val="85000"/>
            </a:schemeClr>
          </a:solidFill>
        </p:grpSpPr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AFBD744C-0108-B01F-EF9F-EBEB2B129F3E}"/>
                </a:ext>
              </a:extLst>
            </p:cNvPr>
            <p:cNvSpPr/>
            <p:nvPr/>
          </p:nvSpPr>
          <p:spPr>
            <a:xfrm rot="2400000">
              <a:off x="9971378" y="5425536"/>
              <a:ext cx="524681" cy="519292"/>
            </a:xfrm>
            <a:custGeom>
              <a:avLst/>
              <a:gdLst>
                <a:gd name="connsiteX0" fmla="*/ 11197 w 524681"/>
                <a:gd name="connsiteY0" fmla="*/ 11198 h 519292"/>
                <a:gd name="connsiteX1" fmla="*/ 38230 w 524681"/>
                <a:gd name="connsiteY1" fmla="*/ 0 h 519292"/>
                <a:gd name="connsiteX2" fmla="*/ 479592 w 524681"/>
                <a:gd name="connsiteY2" fmla="*/ 0 h 519292"/>
                <a:gd name="connsiteX3" fmla="*/ 506625 w 524681"/>
                <a:gd name="connsiteY3" fmla="*/ 11197 h 519292"/>
                <a:gd name="connsiteX4" fmla="*/ 510102 w 524681"/>
                <a:gd name="connsiteY4" fmla="*/ 19591 h 519292"/>
                <a:gd name="connsiteX5" fmla="*/ 517761 w 524681"/>
                <a:gd name="connsiteY5" fmla="*/ 24471 h 519292"/>
                <a:gd name="connsiteX6" fmla="*/ 524094 w 524681"/>
                <a:gd name="connsiteY6" fmla="*/ 53038 h 519292"/>
                <a:gd name="connsiteX7" fmla="*/ 447453 w 524681"/>
                <a:gd name="connsiteY7" fmla="*/ 487695 h 519292"/>
                <a:gd name="connsiteX8" fmla="*/ 403165 w 524681"/>
                <a:gd name="connsiteY8" fmla="*/ 518705 h 519292"/>
                <a:gd name="connsiteX9" fmla="*/ 372154 w 524681"/>
                <a:gd name="connsiteY9" fmla="*/ 474417 h 519292"/>
                <a:gd name="connsiteX10" fmla="*/ 442325 w 524681"/>
                <a:gd name="connsiteY10" fmla="*/ 76460 h 519292"/>
                <a:gd name="connsiteX11" fmla="*/ 38230 w 524681"/>
                <a:gd name="connsiteY11" fmla="*/ 76460 h 519292"/>
                <a:gd name="connsiteX12" fmla="*/ 0 w 524681"/>
                <a:gd name="connsiteY12" fmla="*/ 38230 h 519292"/>
                <a:gd name="connsiteX13" fmla="*/ 11197 w 524681"/>
                <a:gd name="connsiteY13" fmla="*/ 11198 h 519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4681" h="519292">
                  <a:moveTo>
                    <a:pt x="11197" y="11198"/>
                  </a:moveTo>
                  <a:cubicBezTo>
                    <a:pt x="18116" y="4279"/>
                    <a:pt x="27673" y="0"/>
                    <a:pt x="38230" y="0"/>
                  </a:cubicBezTo>
                  <a:lnTo>
                    <a:pt x="479592" y="0"/>
                  </a:lnTo>
                  <a:cubicBezTo>
                    <a:pt x="490149" y="0"/>
                    <a:pt x="499706" y="4279"/>
                    <a:pt x="506625" y="11197"/>
                  </a:cubicBezTo>
                  <a:lnTo>
                    <a:pt x="510102" y="19591"/>
                  </a:lnTo>
                  <a:lnTo>
                    <a:pt x="517761" y="24471"/>
                  </a:lnTo>
                  <a:cubicBezTo>
                    <a:pt x="523373" y="32486"/>
                    <a:pt x="525927" y="42641"/>
                    <a:pt x="524094" y="53038"/>
                  </a:cubicBezTo>
                  <a:lnTo>
                    <a:pt x="447453" y="487695"/>
                  </a:lnTo>
                  <a:cubicBezTo>
                    <a:pt x="443786" y="508487"/>
                    <a:pt x="423958" y="522372"/>
                    <a:pt x="403165" y="518705"/>
                  </a:cubicBezTo>
                  <a:cubicBezTo>
                    <a:pt x="382372" y="515038"/>
                    <a:pt x="368488" y="495210"/>
                    <a:pt x="372154" y="474417"/>
                  </a:cubicBezTo>
                  <a:lnTo>
                    <a:pt x="442325" y="76460"/>
                  </a:lnTo>
                  <a:lnTo>
                    <a:pt x="38230" y="76460"/>
                  </a:lnTo>
                  <a:cubicBezTo>
                    <a:pt x="17116" y="76460"/>
                    <a:pt x="0" y="59344"/>
                    <a:pt x="0" y="38230"/>
                  </a:cubicBezTo>
                  <a:cubicBezTo>
                    <a:pt x="0" y="27673"/>
                    <a:pt x="4279" y="18115"/>
                    <a:pt x="11197" y="11198"/>
                  </a:cubicBezTo>
                  <a:close/>
                </a:path>
              </a:pathLst>
            </a:custGeom>
            <a:grpFill/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BADB482B-957A-2F5A-5509-59E9D5A07642}"/>
                </a:ext>
              </a:extLst>
            </p:cNvPr>
            <p:cNvSpPr/>
            <p:nvPr/>
          </p:nvSpPr>
          <p:spPr>
            <a:xfrm rot="2400000">
              <a:off x="9712467" y="5425536"/>
              <a:ext cx="524681" cy="519292"/>
            </a:xfrm>
            <a:custGeom>
              <a:avLst/>
              <a:gdLst>
                <a:gd name="connsiteX0" fmla="*/ 11197 w 524681"/>
                <a:gd name="connsiteY0" fmla="*/ 11198 h 519292"/>
                <a:gd name="connsiteX1" fmla="*/ 38230 w 524681"/>
                <a:gd name="connsiteY1" fmla="*/ 0 h 519292"/>
                <a:gd name="connsiteX2" fmla="*/ 479592 w 524681"/>
                <a:gd name="connsiteY2" fmla="*/ 0 h 519292"/>
                <a:gd name="connsiteX3" fmla="*/ 506625 w 524681"/>
                <a:gd name="connsiteY3" fmla="*/ 11197 h 519292"/>
                <a:gd name="connsiteX4" fmla="*/ 510102 w 524681"/>
                <a:gd name="connsiteY4" fmla="*/ 19591 h 519292"/>
                <a:gd name="connsiteX5" fmla="*/ 517761 w 524681"/>
                <a:gd name="connsiteY5" fmla="*/ 24471 h 519292"/>
                <a:gd name="connsiteX6" fmla="*/ 524094 w 524681"/>
                <a:gd name="connsiteY6" fmla="*/ 53038 h 519292"/>
                <a:gd name="connsiteX7" fmla="*/ 447453 w 524681"/>
                <a:gd name="connsiteY7" fmla="*/ 487695 h 519292"/>
                <a:gd name="connsiteX8" fmla="*/ 403165 w 524681"/>
                <a:gd name="connsiteY8" fmla="*/ 518705 h 519292"/>
                <a:gd name="connsiteX9" fmla="*/ 372154 w 524681"/>
                <a:gd name="connsiteY9" fmla="*/ 474417 h 519292"/>
                <a:gd name="connsiteX10" fmla="*/ 442325 w 524681"/>
                <a:gd name="connsiteY10" fmla="*/ 76460 h 519292"/>
                <a:gd name="connsiteX11" fmla="*/ 38230 w 524681"/>
                <a:gd name="connsiteY11" fmla="*/ 76460 h 519292"/>
                <a:gd name="connsiteX12" fmla="*/ 0 w 524681"/>
                <a:gd name="connsiteY12" fmla="*/ 38230 h 519292"/>
                <a:gd name="connsiteX13" fmla="*/ 11197 w 524681"/>
                <a:gd name="connsiteY13" fmla="*/ 11198 h 519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4681" h="519292">
                  <a:moveTo>
                    <a:pt x="11197" y="11198"/>
                  </a:moveTo>
                  <a:cubicBezTo>
                    <a:pt x="18116" y="4279"/>
                    <a:pt x="27673" y="0"/>
                    <a:pt x="38230" y="0"/>
                  </a:cubicBezTo>
                  <a:lnTo>
                    <a:pt x="479592" y="0"/>
                  </a:lnTo>
                  <a:cubicBezTo>
                    <a:pt x="490149" y="0"/>
                    <a:pt x="499706" y="4279"/>
                    <a:pt x="506625" y="11197"/>
                  </a:cubicBezTo>
                  <a:lnTo>
                    <a:pt x="510102" y="19591"/>
                  </a:lnTo>
                  <a:lnTo>
                    <a:pt x="517761" y="24471"/>
                  </a:lnTo>
                  <a:cubicBezTo>
                    <a:pt x="523373" y="32486"/>
                    <a:pt x="525927" y="42641"/>
                    <a:pt x="524094" y="53038"/>
                  </a:cubicBezTo>
                  <a:lnTo>
                    <a:pt x="447453" y="487695"/>
                  </a:lnTo>
                  <a:cubicBezTo>
                    <a:pt x="443786" y="508487"/>
                    <a:pt x="423958" y="522372"/>
                    <a:pt x="403165" y="518705"/>
                  </a:cubicBezTo>
                  <a:cubicBezTo>
                    <a:pt x="382372" y="515038"/>
                    <a:pt x="368488" y="495210"/>
                    <a:pt x="372154" y="474417"/>
                  </a:cubicBezTo>
                  <a:lnTo>
                    <a:pt x="442325" y="76460"/>
                  </a:lnTo>
                  <a:lnTo>
                    <a:pt x="38230" y="76460"/>
                  </a:lnTo>
                  <a:cubicBezTo>
                    <a:pt x="17116" y="76460"/>
                    <a:pt x="0" y="59344"/>
                    <a:pt x="0" y="38230"/>
                  </a:cubicBezTo>
                  <a:cubicBezTo>
                    <a:pt x="0" y="27673"/>
                    <a:pt x="4279" y="18115"/>
                    <a:pt x="11197" y="11198"/>
                  </a:cubicBezTo>
                  <a:close/>
                </a:path>
              </a:pathLst>
            </a:custGeom>
            <a:grpFill/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9" name="Arrow33 - 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0D5A9AB-BA81-84D4-273F-E8419CEB1CAA}"/>
              </a:ext>
            </a:extLst>
          </p:cNvPr>
          <p:cNvGrpSpPr>
            <a:grpSpLocks noChangeAspect="1"/>
          </p:cNvGrpSpPr>
          <p:nvPr/>
        </p:nvGrpSpPr>
        <p:grpSpPr>
          <a:xfrm>
            <a:off x="3136310" y="3487756"/>
            <a:ext cx="783592" cy="519292"/>
            <a:chOff x="9712467" y="5425536"/>
            <a:chExt cx="783592" cy="519292"/>
          </a:xfrm>
          <a:solidFill>
            <a:schemeClr val="bg1">
              <a:lumMod val="85000"/>
            </a:schemeClr>
          </a:solidFill>
        </p:grpSpPr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F44E71D3-6D02-D31D-FE15-BED464F2C11F}"/>
                </a:ext>
              </a:extLst>
            </p:cNvPr>
            <p:cNvSpPr/>
            <p:nvPr/>
          </p:nvSpPr>
          <p:spPr>
            <a:xfrm rot="2400000">
              <a:off x="9971378" y="5425536"/>
              <a:ext cx="524681" cy="519292"/>
            </a:xfrm>
            <a:custGeom>
              <a:avLst/>
              <a:gdLst>
                <a:gd name="connsiteX0" fmla="*/ 11197 w 524681"/>
                <a:gd name="connsiteY0" fmla="*/ 11198 h 519292"/>
                <a:gd name="connsiteX1" fmla="*/ 38230 w 524681"/>
                <a:gd name="connsiteY1" fmla="*/ 0 h 519292"/>
                <a:gd name="connsiteX2" fmla="*/ 479592 w 524681"/>
                <a:gd name="connsiteY2" fmla="*/ 0 h 519292"/>
                <a:gd name="connsiteX3" fmla="*/ 506625 w 524681"/>
                <a:gd name="connsiteY3" fmla="*/ 11197 h 519292"/>
                <a:gd name="connsiteX4" fmla="*/ 510102 w 524681"/>
                <a:gd name="connsiteY4" fmla="*/ 19591 h 519292"/>
                <a:gd name="connsiteX5" fmla="*/ 517761 w 524681"/>
                <a:gd name="connsiteY5" fmla="*/ 24471 h 519292"/>
                <a:gd name="connsiteX6" fmla="*/ 524094 w 524681"/>
                <a:gd name="connsiteY6" fmla="*/ 53038 h 519292"/>
                <a:gd name="connsiteX7" fmla="*/ 447453 w 524681"/>
                <a:gd name="connsiteY7" fmla="*/ 487695 h 519292"/>
                <a:gd name="connsiteX8" fmla="*/ 403165 w 524681"/>
                <a:gd name="connsiteY8" fmla="*/ 518705 h 519292"/>
                <a:gd name="connsiteX9" fmla="*/ 372154 w 524681"/>
                <a:gd name="connsiteY9" fmla="*/ 474417 h 519292"/>
                <a:gd name="connsiteX10" fmla="*/ 442325 w 524681"/>
                <a:gd name="connsiteY10" fmla="*/ 76460 h 519292"/>
                <a:gd name="connsiteX11" fmla="*/ 38230 w 524681"/>
                <a:gd name="connsiteY11" fmla="*/ 76460 h 519292"/>
                <a:gd name="connsiteX12" fmla="*/ 0 w 524681"/>
                <a:gd name="connsiteY12" fmla="*/ 38230 h 519292"/>
                <a:gd name="connsiteX13" fmla="*/ 11197 w 524681"/>
                <a:gd name="connsiteY13" fmla="*/ 11198 h 519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4681" h="519292">
                  <a:moveTo>
                    <a:pt x="11197" y="11198"/>
                  </a:moveTo>
                  <a:cubicBezTo>
                    <a:pt x="18116" y="4279"/>
                    <a:pt x="27673" y="0"/>
                    <a:pt x="38230" y="0"/>
                  </a:cubicBezTo>
                  <a:lnTo>
                    <a:pt x="479592" y="0"/>
                  </a:lnTo>
                  <a:cubicBezTo>
                    <a:pt x="490149" y="0"/>
                    <a:pt x="499706" y="4279"/>
                    <a:pt x="506625" y="11197"/>
                  </a:cubicBezTo>
                  <a:lnTo>
                    <a:pt x="510102" y="19591"/>
                  </a:lnTo>
                  <a:lnTo>
                    <a:pt x="517761" y="24471"/>
                  </a:lnTo>
                  <a:cubicBezTo>
                    <a:pt x="523373" y="32486"/>
                    <a:pt x="525927" y="42641"/>
                    <a:pt x="524094" y="53038"/>
                  </a:cubicBezTo>
                  <a:lnTo>
                    <a:pt x="447453" y="487695"/>
                  </a:lnTo>
                  <a:cubicBezTo>
                    <a:pt x="443786" y="508487"/>
                    <a:pt x="423958" y="522372"/>
                    <a:pt x="403165" y="518705"/>
                  </a:cubicBezTo>
                  <a:cubicBezTo>
                    <a:pt x="382372" y="515038"/>
                    <a:pt x="368488" y="495210"/>
                    <a:pt x="372154" y="474417"/>
                  </a:cubicBezTo>
                  <a:lnTo>
                    <a:pt x="442325" y="76460"/>
                  </a:lnTo>
                  <a:lnTo>
                    <a:pt x="38230" y="76460"/>
                  </a:lnTo>
                  <a:cubicBezTo>
                    <a:pt x="17116" y="76460"/>
                    <a:pt x="0" y="59344"/>
                    <a:pt x="0" y="38230"/>
                  </a:cubicBezTo>
                  <a:cubicBezTo>
                    <a:pt x="0" y="27673"/>
                    <a:pt x="4279" y="18115"/>
                    <a:pt x="11197" y="11198"/>
                  </a:cubicBezTo>
                  <a:close/>
                </a:path>
              </a:pathLst>
            </a:custGeom>
            <a:grpFill/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65C99A3B-D99D-CC17-E0F0-A17D5DBF3B57}"/>
                </a:ext>
              </a:extLst>
            </p:cNvPr>
            <p:cNvSpPr/>
            <p:nvPr/>
          </p:nvSpPr>
          <p:spPr>
            <a:xfrm rot="2400000">
              <a:off x="9712467" y="5425536"/>
              <a:ext cx="524681" cy="519292"/>
            </a:xfrm>
            <a:custGeom>
              <a:avLst/>
              <a:gdLst>
                <a:gd name="connsiteX0" fmla="*/ 11197 w 524681"/>
                <a:gd name="connsiteY0" fmla="*/ 11198 h 519292"/>
                <a:gd name="connsiteX1" fmla="*/ 38230 w 524681"/>
                <a:gd name="connsiteY1" fmla="*/ 0 h 519292"/>
                <a:gd name="connsiteX2" fmla="*/ 479592 w 524681"/>
                <a:gd name="connsiteY2" fmla="*/ 0 h 519292"/>
                <a:gd name="connsiteX3" fmla="*/ 506625 w 524681"/>
                <a:gd name="connsiteY3" fmla="*/ 11197 h 519292"/>
                <a:gd name="connsiteX4" fmla="*/ 510102 w 524681"/>
                <a:gd name="connsiteY4" fmla="*/ 19591 h 519292"/>
                <a:gd name="connsiteX5" fmla="*/ 517761 w 524681"/>
                <a:gd name="connsiteY5" fmla="*/ 24471 h 519292"/>
                <a:gd name="connsiteX6" fmla="*/ 524094 w 524681"/>
                <a:gd name="connsiteY6" fmla="*/ 53038 h 519292"/>
                <a:gd name="connsiteX7" fmla="*/ 447453 w 524681"/>
                <a:gd name="connsiteY7" fmla="*/ 487695 h 519292"/>
                <a:gd name="connsiteX8" fmla="*/ 403165 w 524681"/>
                <a:gd name="connsiteY8" fmla="*/ 518705 h 519292"/>
                <a:gd name="connsiteX9" fmla="*/ 372154 w 524681"/>
                <a:gd name="connsiteY9" fmla="*/ 474417 h 519292"/>
                <a:gd name="connsiteX10" fmla="*/ 442325 w 524681"/>
                <a:gd name="connsiteY10" fmla="*/ 76460 h 519292"/>
                <a:gd name="connsiteX11" fmla="*/ 38230 w 524681"/>
                <a:gd name="connsiteY11" fmla="*/ 76460 h 519292"/>
                <a:gd name="connsiteX12" fmla="*/ 0 w 524681"/>
                <a:gd name="connsiteY12" fmla="*/ 38230 h 519292"/>
                <a:gd name="connsiteX13" fmla="*/ 11197 w 524681"/>
                <a:gd name="connsiteY13" fmla="*/ 11198 h 519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4681" h="519292">
                  <a:moveTo>
                    <a:pt x="11197" y="11198"/>
                  </a:moveTo>
                  <a:cubicBezTo>
                    <a:pt x="18116" y="4279"/>
                    <a:pt x="27673" y="0"/>
                    <a:pt x="38230" y="0"/>
                  </a:cubicBezTo>
                  <a:lnTo>
                    <a:pt x="479592" y="0"/>
                  </a:lnTo>
                  <a:cubicBezTo>
                    <a:pt x="490149" y="0"/>
                    <a:pt x="499706" y="4279"/>
                    <a:pt x="506625" y="11197"/>
                  </a:cubicBezTo>
                  <a:lnTo>
                    <a:pt x="510102" y="19591"/>
                  </a:lnTo>
                  <a:lnTo>
                    <a:pt x="517761" y="24471"/>
                  </a:lnTo>
                  <a:cubicBezTo>
                    <a:pt x="523373" y="32486"/>
                    <a:pt x="525927" y="42641"/>
                    <a:pt x="524094" y="53038"/>
                  </a:cubicBezTo>
                  <a:lnTo>
                    <a:pt x="447453" y="487695"/>
                  </a:lnTo>
                  <a:cubicBezTo>
                    <a:pt x="443786" y="508487"/>
                    <a:pt x="423958" y="522372"/>
                    <a:pt x="403165" y="518705"/>
                  </a:cubicBezTo>
                  <a:cubicBezTo>
                    <a:pt x="382372" y="515038"/>
                    <a:pt x="368488" y="495210"/>
                    <a:pt x="372154" y="474417"/>
                  </a:cubicBezTo>
                  <a:lnTo>
                    <a:pt x="442325" y="76460"/>
                  </a:lnTo>
                  <a:lnTo>
                    <a:pt x="38230" y="76460"/>
                  </a:lnTo>
                  <a:cubicBezTo>
                    <a:pt x="17116" y="76460"/>
                    <a:pt x="0" y="59344"/>
                    <a:pt x="0" y="38230"/>
                  </a:cubicBezTo>
                  <a:cubicBezTo>
                    <a:pt x="0" y="27673"/>
                    <a:pt x="4279" y="18115"/>
                    <a:pt x="11197" y="11198"/>
                  </a:cubicBezTo>
                  <a:close/>
                </a:path>
              </a:pathLst>
            </a:custGeom>
            <a:grpFill/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2" name="TextBox 81">
            <a:extLst>
              <a:ext uri="{FF2B5EF4-FFF2-40B4-BE49-F238E27FC236}">
                <a16:creationId xmlns:a16="http://schemas.microsoft.com/office/drawing/2014/main" id="{F02220A6-3617-8E35-1A10-4FDBF041579E}"/>
              </a:ext>
            </a:extLst>
          </p:cNvPr>
          <p:cNvSpPr txBox="1"/>
          <p:nvPr/>
        </p:nvSpPr>
        <p:spPr>
          <a:xfrm>
            <a:off x="7962178" y="4537146"/>
            <a:ext cx="286221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latin typeface="+mj-lt"/>
              </a:rPr>
              <a:t>… take online actions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visit sender’s web site, go online, look up account details, use a tablet or smartphone</a:t>
            </a:r>
          </a:p>
          <a:p>
            <a:pPr algn="ctr"/>
            <a:endParaRPr lang="en-GB" sz="2000" b="1" dirty="0">
              <a:latin typeface="+mj-lt"/>
            </a:endParaRPr>
          </a:p>
        </p:txBody>
      </p:sp>
      <p:grpSp>
        <p:nvGrpSpPr>
          <p:cNvPr id="100" name="E_commerc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9C004E8-F39D-C213-4876-06331DC57EBB}"/>
              </a:ext>
            </a:extLst>
          </p:cNvPr>
          <p:cNvGrpSpPr>
            <a:grpSpLocks noChangeAspect="1"/>
          </p:cNvGrpSpPr>
          <p:nvPr/>
        </p:nvGrpSpPr>
        <p:grpSpPr>
          <a:xfrm>
            <a:off x="8345666" y="3127106"/>
            <a:ext cx="1827667" cy="1317621"/>
            <a:chOff x="3506547" y="3758510"/>
            <a:chExt cx="2867025" cy="2066924"/>
          </a:xfrm>
          <a:solidFill>
            <a:schemeClr val="tx1"/>
          </a:solidFill>
        </p:grpSpPr>
        <p:sp>
          <p:nvSpPr>
            <p:cNvPr id="101" name="Free-form: Shape 613">
              <a:extLst>
                <a:ext uri="{FF2B5EF4-FFF2-40B4-BE49-F238E27FC236}">
                  <a16:creationId xmlns:a16="http://schemas.microsoft.com/office/drawing/2014/main" id="{FF4F9B18-5D0B-6665-B72F-6CC661E7B5A3}"/>
                </a:ext>
              </a:extLst>
            </p:cNvPr>
            <p:cNvSpPr/>
            <p:nvPr/>
          </p:nvSpPr>
          <p:spPr>
            <a:xfrm>
              <a:off x="3725526" y="3758510"/>
              <a:ext cx="2429066" cy="1847850"/>
            </a:xfrm>
            <a:custGeom>
              <a:avLst/>
              <a:gdLst>
                <a:gd name="connsiteX0" fmla="*/ 2284476 w 2429066"/>
                <a:gd name="connsiteY0" fmla="*/ 0 h 1847850"/>
                <a:gd name="connsiteX1" fmla="*/ 2414207 w 2429066"/>
                <a:gd name="connsiteY1" fmla="*/ 93536 h 1847850"/>
                <a:gd name="connsiteX2" fmla="*/ 2429066 w 2429066"/>
                <a:gd name="connsiteY2" fmla="*/ 223076 h 1847850"/>
                <a:gd name="connsiteX3" fmla="*/ 2428970 w 2429066"/>
                <a:gd name="connsiteY3" fmla="*/ 1823466 h 1847850"/>
                <a:gd name="connsiteX4" fmla="*/ 2404586 w 2429066"/>
                <a:gd name="connsiteY4" fmla="*/ 1847850 h 1847850"/>
                <a:gd name="connsiteX5" fmla="*/ 24479 w 2429066"/>
                <a:gd name="connsiteY5" fmla="*/ 1847850 h 1847850"/>
                <a:gd name="connsiteX6" fmla="*/ 95 w 2429066"/>
                <a:gd name="connsiteY6" fmla="*/ 1823466 h 1847850"/>
                <a:gd name="connsiteX7" fmla="*/ 0 w 2429066"/>
                <a:gd name="connsiteY7" fmla="*/ 222980 h 1847850"/>
                <a:gd name="connsiteX8" fmla="*/ 14954 w 2429066"/>
                <a:gd name="connsiteY8" fmla="*/ 93345 h 1847850"/>
                <a:gd name="connsiteX9" fmla="*/ 144971 w 2429066"/>
                <a:gd name="connsiteY9" fmla="*/ 0 h 1847850"/>
                <a:gd name="connsiteX10" fmla="*/ 2284476 w 2429066"/>
                <a:gd name="connsiteY10" fmla="*/ 0 h 1847850"/>
                <a:gd name="connsiteX11" fmla="*/ 1214628 w 2429066"/>
                <a:gd name="connsiteY11" fmla="*/ 1800225 h 1847850"/>
                <a:gd name="connsiteX12" fmla="*/ 2378678 w 2429066"/>
                <a:gd name="connsiteY12" fmla="*/ 1799844 h 1847850"/>
                <a:gd name="connsiteX13" fmla="*/ 2381441 w 2429066"/>
                <a:gd name="connsiteY13" fmla="*/ 1797082 h 1847850"/>
                <a:gd name="connsiteX14" fmla="*/ 2381441 w 2429066"/>
                <a:gd name="connsiteY14" fmla="*/ 201359 h 1847850"/>
                <a:gd name="connsiteX15" fmla="*/ 2374487 w 2429066"/>
                <a:gd name="connsiteY15" fmla="*/ 123349 h 1847850"/>
                <a:gd name="connsiteX16" fmla="*/ 2320957 w 2429066"/>
                <a:gd name="connsiteY16" fmla="*/ 60484 h 1847850"/>
                <a:gd name="connsiteX17" fmla="*/ 2216087 w 2429066"/>
                <a:gd name="connsiteY17" fmla="*/ 47625 h 1847850"/>
                <a:gd name="connsiteX18" fmla="*/ 1214533 w 2429066"/>
                <a:gd name="connsiteY18" fmla="*/ 47625 h 1847850"/>
                <a:gd name="connsiteX19" fmla="*/ 212979 w 2429066"/>
                <a:gd name="connsiteY19" fmla="*/ 47720 h 1847850"/>
                <a:gd name="connsiteX20" fmla="*/ 108109 w 2429066"/>
                <a:gd name="connsiteY20" fmla="*/ 60579 h 1847850"/>
                <a:gd name="connsiteX21" fmla="*/ 54578 w 2429066"/>
                <a:gd name="connsiteY21" fmla="*/ 123444 h 1847850"/>
                <a:gd name="connsiteX22" fmla="*/ 47625 w 2429066"/>
                <a:gd name="connsiteY22" fmla="*/ 201549 h 1847850"/>
                <a:gd name="connsiteX23" fmla="*/ 47816 w 2429066"/>
                <a:gd name="connsiteY23" fmla="*/ 1797272 h 1847850"/>
                <a:gd name="connsiteX24" fmla="*/ 50578 w 2429066"/>
                <a:gd name="connsiteY24" fmla="*/ 1800035 h 1847850"/>
                <a:gd name="connsiteX25" fmla="*/ 1214628 w 2429066"/>
                <a:gd name="connsiteY25" fmla="*/ 1800225 h 1847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429066" h="1847850">
                  <a:moveTo>
                    <a:pt x="2284476" y="0"/>
                  </a:moveTo>
                  <a:cubicBezTo>
                    <a:pt x="2349373" y="11239"/>
                    <a:pt x="2392616" y="42418"/>
                    <a:pt x="2414207" y="93536"/>
                  </a:cubicBezTo>
                  <a:cubicBezTo>
                    <a:pt x="2424176" y="117158"/>
                    <a:pt x="2429129" y="160338"/>
                    <a:pt x="2429066" y="223076"/>
                  </a:cubicBezTo>
                  <a:cubicBezTo>
                    <a:pt x="2428939" y="897890"/>
                    <a:pt x="2428907" y="1431354"/>
                    <a:pt x="2428970" y="1823466"/>
                  </a:cubicBezTo>
                  <a:cubicBezTo>
                    <a:pt x="2428970" y="1836933"/>
                    <a:pt x="2418053" y="1847850"/>
                    <a:pt x="2404586" y="1847850"/>
                  </a:cubicBezTo>
                  <a:lnTo>
                    <a:pt x="24479" y="1847850"/>
                  </a:lnTo>
                  <a:cubicBezTo>
                    <a:pt x="11012" y="1847850"/>
                    <a:pt x="95" y="1836933"/>
                    <a:pt x="95" y="1823466"/>
                  </a:cubicBezTo>
                  <a:cubicBezTo>
                    <a:pt x="95" y="1189863"/>
                    <a:pt x="63" y="656368"/>
                    <a:pt x="0" y="222980"/>
                  </a:cubicBezTo>
                  <a:cubicBezTo>
                    <a:pt x="0" y="160179"/>
                    <a:pt x="4985" y="116967"/>
                    <a:pt x="14954" y="93345"/>
                  </a:cubicBezTo>
                  <a:cubicBezTo>
                    <a:pt x="36544" y="42101"/>
                    <a:pt x="79883" y="10986"/>
                    <a:pt x="144971" y="0"/>
                  </a:cubicBezTo>
                  <a:lnTo>
                    <a:pt x="2284476" y="0"/>
                  </a:lnTo>
                  <a:close/>
                  <a:moveTo>
                    <a:pt x="1214628" y="1800225"/>
                  </a:moveTo>
                  <a:cubicBezTo>
                    <a:pt x="1602867" y="1800225"/>
                    <a:pt x="1990884" y="1800098"/>
                    <a:pt x="2378678" y="1799844"/>
                  </a:cubicBezTo>
                  <a:cubicBezTo>
                    <a:pt x="2380204" y="1799844"/>
                    <a:pt x="2381441" y="1798607"/>
                    <a:pt x="2381441" y="1797082"/>
                  </a:cubicBezTo>
                  <a:cubicBezTo>
                    <a:pt x="2381377" y="1265206"/>
                    <a:pt x="2381377" y="733298"/>
                    <a:pt x="2381441" y="201359"/>
                  </a:cubicBezTo>
                  <a:cubicBezTo>
                    <a:pt x="2381441" y="164211"/>
                    <a:pt x="2379123" y="138208"/>
                    <a:pt x="2374487" y="123349"/>
                  </a:cubicBezTo>
                  <a:cubicBezTo>
                    <a:pt x="2365153" y="93885"/>
                    <a:pt x="2347309" y="72930"/>
                    <a:pt x="2320957" y="60484"/>
                  </a:cubicBezTo>
                  <a:cubicBezTo>
                    <a:pt x="2302796" y="51911"/>
                    <a:pt x="2267839" y="47625"/>
                    <a:pt x="2216087" y="47625"/>
                  </a:cubicBezTo>
                  <a:cubicBezTo>
                    <a:pt x="1882267" y="47562"/>
                    <a:pt x="1548416" y="47562"/>
                    <a:pt x="1214533" y="47625"/>
                  </a:cubicBezTo>
                  <a:cubicBezTo>
                    <a:pt x="880650" y="47625"/>
                    <a:pt x="546799" y="47657"/>
                    <a:pt x="212979" y="47720"/>
                  </a:cubicBezTo>
                  <a:cubicBezTo>
                    <a:pt x="161227" y="47720"/>
                    <a:pt x="126270" y="52007"/>
                    <a:pt x="108109" y="60579"/>
                  </a:cubicBezTo>
                  <a:cubicBezTo>
                    <a:pt x="81756" y="73025"/>
                    <a:pt x="63913" y="93980"/>
                    <a:pt x="54578" y="123444"/>
                  </a:cubicBezTo>
                  <a:cubicBezTo>
                    <a:pt x="49943" y="138367"/>
                    <a:pt x="47625" y="164402"/>
                    <a:pt x="47625" y="201549"/>
                  </a:cubicBezTo>
                  <a:cubicBezTo>
                    <a:pt x="47752" y="733489"/>
                    <a:pt x="47816" y="1265396"/>
                    <a:pt x="47816" y="1797272"/>
                  </a:cubicBezTo>
                  <a:cubicBezTo>
                    <a:pt x="47816" y="1798798"/>
                    <a:pt x="49052" y="1800035"/>
                    <a:pt x="50578" y="1800035"/>
                  </a:cubicBezTo>
                  <a:cubicBezTo>
                    <a:pt x="438372" y="1800162"/>
                    <a:pt x="826389" y="1800225"/>
                    <a:pt x="1214628" y="1800225"/>
                  </a:cubicBezTo>
                  <a:close/>
                </a:path>
              </a:pathLst>
            </a:custGeom>
            <a:grp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fr-FR" dirty="0"/>
            </a:p>
          </p:txBody>
        </p:sp>
        <p:sp>
          <p:nvSpPr>
            <p:cNvPr id="102" name="Free-form: Shape 614">
              <a:extLst>
                <a:ext uri="{FF2B5EF4-FFF2-40B4-BE49-F238E27FC236}">
                  <a16:creationId xmlns:a16="http://schemas.microsoft.com/office/drawing/2014/main" id="{BEE86A69-4F21-DB6B-153F-3F16CF986FFF}"/>
                </a:ext>
              </a:extLst>
            </p:cNvPr>
            <p:cNvSpPr/>
            <p:nvPr/>
          </p:nvSpPr>
          <p:spPr>
            <a:xfrm>
              <a:off x="4146341" y="4072639"/>
              <a:ext cx="1369930" cy="943213"/>
            </a:xfrm>
            <a:custGeom>
              <a:avLst/>
              <a:gdLst>
                <a:gd name="connsiteX0" fmla="*/ 1312831 w 1369930"/>
                <a:gd name="connsiteY0" fmla="*/ 280516 h 943213"/>
                <a:gd name="connsiteX1" fmla="*/ 1310664 w 1369930"/>
                <a:gd name="connsiteY1" fmla="*/ 276634 h 943213"/>
                <a:gd name="connsiteX2" fmla="*/ 1309783 w 1369930"/>
                <a:gd name="connsiteY2" fmla="*/ 276515 h 943213"/>
                <a:gd name="connsiteX3" fmla="*/ 536734 w 1369930"/>
                <a:gd name="connsiteY3" fmla="*/ 276325 h 943213"/>
                <a:gd name="connsiteX4" fmla="*/ 514255 w 1369930"/>
                <a:gd name="connsiteY4" fmla="*/ 253274 h 943213"/>
                <a:gd name="connsiteX5" fmla="*/ 514160 w 1369930"/>
                <a:gd name="connsiteY5" fmla="*/ 252322 h 943213"/>
                <a:gd name="connsiteX6" fmla="*/ 528770 w 1369930"/>
                <a:gd name="connsiteY6" fmla="*/ 229932 h 943213"/>
                <a:gd name="connsiteX7" fmla="*/ 536639 w 1369930"/>
                <a:gd name="connsiteY7" fmla="*/ 228795 h 943213"/>
                <a:gd name="connsiteX8" fmla="*/ 1346454 w 1369930"/>
                <a:gd name="connsiteY8" fmla="*/ 228795 h 943213"/>
                <a:gd name="connsiteX9" fmla="*/ 1369930 w 1369930"/>
                <a:gd name="connsiteY9" fmla="*/ 252182 h 943213"/>
                <a:gd name="connsiteX10" fmla="*/ 1368933 w 1369930"/>
                <a:gd name="connsiteY10" fmla="*/ 258989 h 943213"/>
                <a:gd name="connsiteX11" fmla="*/ 1232059 w 1369930"/>
                <a:gd name="connsiteY11" fmla="*/ 714284 h 943213"/>
                <a:gd name="connsiteX12" fmla="*/ 1205960 w 1369930"/>
                <a:gd name="connsiteY12" fmla="*/ 733620 h 943213"/>
                <a:gd name="connsiteX13" fmla="*/ 538925 w 1369930"/>
                <a:gd name="connsiteY13" fmla="*/ 733620 h 943213"/>
                <a:gd name="connsiteX14" fmla="*/ 535115 w 1369930"/>
                <a:gd name="connsiteY14" fmla="*/ 738573 h 943213"/>
                <a:gd name="connsiteX15" fmla="*/ 568833 w 1369930"/>
                <a:gd name="connsiteY15" fmla="*/ 853730 h 943213"/>
                <a:gd name="connsiteX16" fmla="*/ 631793 w 1369930"/>
                <a:gd name="connsiteY16" fmla="*/ 895736 h 943213"/>
                <a:gd name="connsiteX17" fmla="*/ 1258538 w 1369930"/>
                <a:gd name="connsiteY17" fmla="*/ 895640 h 943213"/>
                <a:gd name="connsiteX18" fmla="*/ 1284065 w 1369930"/>
                <a:gd name="connsiteY18" fmla="*/ 920977 h 943213"/>
                <a:gd name="connsiteX19" fmla="*/ 1283970 w 1369930"/>
                <a:gd name="connsiteY19" fmla="*/ 921929 h 943213"/>
                <a:gd name="connsiteX20" fmla="*/ 1258824 w 1369930"/>
                <a:gd name="connsiteY20" fmla="*/ 943075 h 943213"/>
                <a:gd name="connsiteX21" fmla="*/ 631888 w 1369930"/>
                <a:gd name="connsiteY21" fmla="*/ 942789 h 943213"/>
                <a:gd name="connsiteX22" fmla="*/ 543401 w 1369930"/>
                <a:gd name="connsiteY22" fmla="*/ 904118 h 943213"/>
                <a:gd name="connsiteX23" fmla="*/ 509111 w 1369930"/>
                <a:gd name="connsiteY23" fmla="*/ 821726 h 943213"/>
                <a:gd name="connsiteX24" fmla="*/ 315944 w 1369930"/>
                <a:gd name="connsiteY24" fmla="*/ 176598 h 943213"/>
                <a:gd name="connsiteX25" fmla="*/ 278035 w 1369930"/>
                <a:gd name="connsiteY25" fmla="*/ 89254 h 943213"/>
                <a:gd name="connsiteX26" fmla="*/ 184214 w 1369930"/>
                <a:gd name="connsiteY26" fmla="*/ 47534 h 943213"/>
                <a:gd name="connsiteX27" fmla="*/ 22384 w 1369930"/>
                <a:gd name="connsiteY27" fmla="*/ 47153 h 943213"/>
                <a:gd name="connsiteX28" fmla="*/ 0 w 1369930"/>
                <a:gd name="connsiteY28" fmla="*/ 24293 h 943213"/>
                <a:gd name="connsiteX29" fmla="*/ 0 w 1369930"/>
                <a:gd name="connsiteY29" fmla="*/ 23341 h 943213"/>
                <a:gd name="connsiteX30" fmla="*/ 22765 w 1369930"/>
                <a:gd name="connsiteY30" fmla="*/ 767 h 943213"/>
                <a:gd name="connsiteX31" fmla="*/ 179832 w 1369930"/>
                <a:gd name="connsiteY31" fmla="*/ 290 h 943213"/>
                <a:gd name="connsiteX32" fmla="*/ 317945 w 1369930"/>
                <a:gd name="connsiteY32" fmla="*/ 62774 h 943213"/>
                <a:gd name="connsiteX33" fmla="*/ 369856 w 1369930"/>
                <a:gd name="connsiteY33" fmla="*/ 191838 h 943213"/>
                <a:gd name="connsiteX34" fmla="*/ 517112 w 1369930"/>
                <a:gd name="connsiteY34" fmla="*/ 681804 h 943213"/>
                <a:gd name="connsiteX35" fmla="*/ 522732 w 1369930"/>
                <a:gd name="connsiteY35" fmla="*/ 685995 h 943213"/>
                <a:gd name="connsiteX36" fmla="*/ 1186244 w 1369930"/>
                <a:gd name="connsiteY36" fmla="*/ 685995 h 943213"/>
                <a:gd name="connsiteX37" fmla="*/ 1192149 w 1369930"/>
                <a:gd name="connsiteY37" fmla="*/ 681614 h 943213"/>
                <a:gd name="connsiteX38" fmla="*/ 1312831 w 1369930"/>
                <a:gd name="connsiteY38" fmla="*/ 280516 h 943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369930" h="943213">
                  <a:moveTo>
                    <a:pt x="1312831" y="280516"/>
                  </a:moveTo>
                  <a:cubicBezTo>
                    <a:pt x="1313304" y="278846"/>
                    <a:pt x="1312334" y="277108"/>
                    <a:pt x="1310664" y="276634"/>
                  </a:cubicBezTo>
                  <a:cubicBezTo>
                    <a:pt x="1310377" y="276553"/>
                    <a:pt x="1310081" y="276513"/>
                    <a:pt x="1309783" y="276515"/>
                  </a:cubicBezTo>
                  <a:lnTo>
                    <a:pt x="536734" y="276325"/>
                  </a:lnTo>
                  <a:cubicBezTo>
                    <a:pt x="520224" y="276325"/>
                    <a:pt x="512731" y="268641"/>
                    <a:pt x="514255" y="253274"/>
                  </a:cubicBezTo>
                  <a:cubicBezTo>
                    <a:pt x="514255" y="252893"/>
                    <a:pt x="514223" y="252576"/>
                    <a:pt x="514160" y="252322"/>
                  </a:cubicBezTo>
                  <a:cubicBezTo>
                    <a:pt x="510646" y="243367"/>
                    <a:pt x="517187" y="233343"/>
                    <a:pt x="528770" y="229932"/>
                  </a:cubicBezTo>
                  <a:cubicBezTo>
                    <a:pt x="531317" y="229182"/>
                    <a:pt x="533983" y="228796"/>
                    <a:pt x="536639" y="228795"/>
                  </a:cubicBezTo>
                  <a:lnTo>
                    <a:pt x="1346454" y="228795"/>
                  </a:lnTo>
                  <a:cubicBezTo>
                    <a:pt x="1359395" y="228770"/>
                    <a:pt x="1369906" y="239241"/>
                    <a:pt x="1369930" y="252182"/>
                  </a:cubicBezTo>
                  <a:cubicBezTo>
                    <a:pt x="1369935" y="254488"/>
                    <a:pt x="1369599" y="256782"/>
                    <a:pt x="1368933" y="258989"/>
                  </a:cubicBezTo>
                  <a:lnTo>
                    <a:pt x="1232059" y="714284"/>
                  </a:lnTo>
                  <a:cubicBezTo>
                    <a:pt x="1228540" y="725784"/>
                    <a:pt x="1217946" y="733632"/>
                    <a:pt x="1205960" y="733620"/>
                  </a:cubicBezTo>
                  <a:lnTo>
                    <a:pt x="538925" y="733620"/>
                  </a:lnTo>
                  <a:cubicBezTo>
                    <a:pt x="535496" y="733620"/>
                    <a:pt x="534226" y="735271"/>
                    <a:pt x="535115" y="738573"/>
                  </a:cubicBezTo>
                  <a:cubicBezTo>
                    <a:pt x="550672" y="796422"/>
                    <a:pt x="561912" y="834807"/>
                    <a:pt x="568833" y="853730"/>
                  </a:cubicBezTo>
                  <a:cubicBezTo>
                    <a:pt x="579057" y="881734"/>
                    <a:pt x="600043" y="895736"/>
                    <a:pt x="631793" y="895736"/>
                  </a:cubicBezTo>
                  <a:cubicBezTo>
                    <a:pt x="956596" y="895545"/>
                    <a:pt x="1165511" y="895513"/>
                    <a:pt x="1258538" y="895640"/>
                  </a:cubicBezTo>
                  <a:cubicBezTo>
                    <a:pt x="1273588" y="895640"/>
                    <a:pt x="1282097" y="904086"/>
                    <a:pt x="1284065" y="920977"/>
                  </a:cubicBezTo>
                  <a:cubicBezTo>
                    <a:pt x="1284065" y="921294"/>
                    <a:pt x="1284034" y="921612"/>
                    <a:pt x="1283970" y="921929"/>
                  </a:cubicBezTo>
                  <a:cubicBezTo>
                    <a:pt x="1280160" y="935963"/>
                    <a:pt x="1271778" y="943011"/>
                    <a:pt x="1258824" y="943075"/>
                  </a:cubicBezTo>
                  <a:cubicBezTo>
                    <a:pt x="1062038" y="943329"/>
                    <a:pt x="853059" y="943234"/>
                    <a:pt x="631888" y="942789"/>
                  </a:cubicBezTo>
                  <a:cubicBezTo>
                    <a:pt x="593471" y="942726"/>
                    <a:pt x="563975" y="929835"/>
                    <a:pt x="543401" y="904118"/>
                  </a:cubicBezTo>
                  <a:cubicBezTo>
                    <a:pt x="533178" y="891291"/>
                    <a:pt x="521748" y="863827"/>
                    <a:pt x="509111" y="821726"/>
                  </a:cubicBezTo>
                  <a:cubicBezTo>
                    <a:pt x="390239" y="425359"/>
                    <a:pt x="325850" y="210317"/>
                    <a:pt x="315944" y="176598"/>
                  </a:cubicBezTo>
                  <a:cubicBezTo>
                    <a:pt x="302419" y="130561"/>
                    <a:pt x="289782" y="101446"/>
                    <a:pt x="278035" y="89254"/>
                  </a:cubicBezTo>
                  <a:cubicBezTo>
                    <a:pt x="250476" y="60869"/>
                    <a:pt x="219202" y="46963"/>
                    <a:pt x="184214" y="47534"/>
                  </a:cubicBezTo>
                  <a:cubicBezTo>
                    <a:pt x="138176" y="48360"/>
                    <a:pt x="84233" y="48233"/>
                    <a:pt x="22384" y="47153"/>
                  </a:cubicBezTo>
                  <a:cubicBezTo>
                    <a:pt x="7588" y="46963"/>
                    <a:pt x="127" y="39343"/>
                    <a:pt x="0" y="24293"/>
                  </a:cubicBezTo>
                  <a:cubicBezTo>
                    <a:pt x="0" y="23849"/>
                    <a:pt x="0" y="23531"/>
                    <a:pt x="0" y="23341"/>
                  </a:cubicBezTo>
                  <a:cubicBezTo>
                    <a:pt x="127" y="8482"/>
                    <a:pt x="7715" y="957"/>
                    <a:pt x="22765" y="767"/>
                  </a:cubicBezTo>
                  <a:cubicBezTo>
                    <a:pt x="94647" y="-59"/>
                    <a:pt x="147003" y="-218"/>
                    <a:pt x="179832" y="290"/>
                  </a:cubicBezTo>
                  <a:cubicBezTo>
                    <a:pt x="239459" y="1179"/>
                    <a:pt x="285496" y="22007"/>
                    <a:pt x="317945" y="62774"/>
                  </a:cubicBezTo>
                  <a:cubicBezTo>
                    <a:pt x="332105" y="80491"/>
                    <a:pt x="349409" y="123512"/>
                    <a:pt x="369856" y="191838"/>
                  </a:cubicBezTo>
                  <a:cubicBezTo>
                    <a:pt x="441484" y="430598"/>
                    <a:pt x="490569" y="593920"/>
                    <a:pt x="517112" y="681804"/>
                  </a:cubicBezTo>
                  <a:cubicBezTo>
                    <a:pt x="517830" y="684277"/>
                    <a:pt x="520117" y="685982"/>
                    <a:pt x="522732" y="685995"/>
                  </a:cubicBezTo>
                  <a:lnTo>
                    <a:pt x="1186244" y="685995"/>
                  </a:lnTo>
                  <a:cubicBezTo>
                    <a:pt x="1189292" y="685995"/>
                    <a:pt x="1191260" y="684535"/>
                    <a:pt x="1192149" y="681614"/>
                  </a:cubicBezTo>
                  <a:lnTo>
                    <a:pt x="1312831" y="280516"/>
                  </a:lnTo>
                  <a:close/>
                </a:path>
              </a:pathLst>
            </a:custGeom>
            <a:solidFill>
              <a:schemeClr val="accent1"/>
            </a:solidFill>
            <a:ln w="1905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fr-FR" dirty="0"/>
            </a:p>
          </p:txBody>
        </p:sp>
        <p:sp>
          <p:nvSpPr>
            <p:cNvPr id="103" name="Free-form: Shape 615">
              <a:extLst>
                <a:ext uri="{FF2B5EF4-FFF2-40B4-BE49-F238E27FC236}">
                  <a16:creationId xmlns:a16="http://schemas.microsoft.com/office/drawing/2014/main" id="{C528D04E-568F-DDEB-6EBE-DF9ED5146860}"/>
                </a:ext>
              </a:extLst>
            </p:cNvPr>
            <p:cNvSpPr/>
            <p:nvPr/>
          </p:nvSpPr>
          <p:spPr>
            <a:xfrm>
              <a:off x="4659320" y="5101752"/>
              <a:ext cx="237296" cy="237250"/>
            </a:xfrm>
            <a:custGeom>
              <a:avLst/>
              <a:gdLst>
                <a:gd name="connsiteX0" fmla="*/ 69760 w 237296"/>
                <a:gd name="connsiteY0" fmla="*/ 167803 h 237250"/>
                <a:gd name="connsiteX1" fmla="*/ 178250 w 237296"/>
                <a:gd name="connsiteY1" fmla="*/ 155897 h 237250"/>
                <a:gd name="connsiteX2" fmla="*/ 193680 w 237296"/>
                <a:gd name="connsiteY2" fmla="*/ 106653 h 237250"/>
                <a:gd name="connsiteX3" fmla="*/ 198824 w 237296"/>
                <a:gd name="connsiteY3" fmla="*/ 99414 h 237250"/>
                <a:gd name="connsiteX4" fmla="*/ 235876 w 237296"/>
                <a:gd name="connsiteY4" fmla="*/ 111320 h 237250"/>
                <a:gd name="connsiteX5" fmla="*/ 235209 w 237296"/>
                <a:gd name="connsiteY5" fmla="*/ 140276 h 237250"/>
                <a:gd name="connsiteX6" fmla="*/ 198919 w 237296"/>
                <a:gd name="connsiteY6" fmla="*/ 204189 h 237250"/>
                <a:gd name="connsiteX7" fmla="*/ 136435 w 237296"/>
                <a:gd name="connsiteY7" fmla="*/ 235812 h 237250"/>
                <a:gd name="connsiteX8" fmla="*/ 41661 w 237296"/>
                <a:gd name="connsiteY8" fmla="*/ 208190 h 237250"/>
                <a:gd name="connsiteX9" fmla="*/ 35184 w 237296"/>
                <a:gd name="connsiteY9" fmla="*/ 202474 h 237250"/>
                <a:gd name="connsiteX10" fmla="*/ 29374 w 237296"/>
                <a:gd name="connsiteY10" fmla="*/ 195998 h 237250"/>
                <a:gd name="connsiteX11" fmla="*/ 1370 w 237296"/>
                <a:gd name="connsiteY11" fmla="*/ 101319 h 237250"/>
                <a:gd name="connsiteX12" fmla="*/ 32708 w 237296"/>
                <a:gd name="connsiteY12" fmla="*/ 38740 h 237250"/>
                <a:gd name="connsiteX13" fmla="*/ 96430 w 237296"/>
                <a:gd name="connsiteY13" fmla="*/ 2164 h 237250"/>
                <a:gd name="connsiteX14" fmla="*/ 125386 w 237296"/>
                <a:gd name="connsiteY14" fmla="*/ 1402 h 237250"/>
                <a:gd name="connsiteX15" fmla="*/ 137483 w 237296"/>
                <a:gd name="connsiteY15" fmla="*/ 38359 h 237250"/>
                <a:gd name="connsiteX16" fmla="*/ 130244 w 237296"/>
                <a:gd name="connsiteY16" fmla="*/ 43502 h 237250"/>
                <a:gd name="connsiteX17" fmla="*/ 81095 w 237296"/>
                <a:gd name="connsiteY17" fmla="*/ 59219 h 237250"/>
                <a:gd name="connsiteX18" fmla="*/ 69760 w 237296"/>
                <a:gd name="connsiteY18" fmla="*/ 167803 h 237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37296" h="237250">
                  <a:moveTo>
                    <a:pt x="69760" y="167803"/>
                  </a:moveTo>
                  <a:cubicBezTo>
                    <a:pt x="104431" y="202379"/>
                    <a:pt x="151294" y="194569"/>
                    <a:pt x="178250" y="155897"/>
                  </a:cubicBezTo>
                  <a:cubicBezTo>
                    <a:pt x="188918" y="140562"/>
                    <a:pt x="189108" y="121321"/>
                    <a:pt x="193680" y="106653"/>
                  </a:cubicBezTo>
                  <a:cubicBezTo>
                    <a:pt x="194760" y="103160"/>
                    <a:pt x="196474" y="100748"/>
                    <a:pt x="198824" y="99414"/>
                  </a:cubicBezTo>
                  <a:cubicBezTo>
                    <a:pt x="212921" y="91603"/>
                    <a:pt x="231495" y="93794"/>
                    <a:pt x="235876" y="111320"/>
                  </a:cubicBezTo>
                  <a:cubicBezTo>
                    <a:pt x="237971" y="119575"/>
                    <a:pt x="237749" y="129227"/>
                    <a:pt x="235209" y="140276"/>
                  </a:cubicBezTo>
                  <a:cubicBezTo>
                    <a:pt x="229558" y="165359"/>
                    <a:pt x="217461" y="186663"/>
                    <a:pt x="198919" y="204189"/>
                  </a:cubicBezTo>
                  <a:cubicBezTo>
                    <a:pt x="180377" y="221715"/>
                    <a:pt x="159549" y="232256"/>
                    <a:pt x="136435" y="235812"/>
                  </a:cubicBezTo>
                  <a:cubicBezTo>
                    <a:pt x="101954" y="241082"/>
                    <a:pt x="70363" y="231875"/>
                    <a:pt x="41661" y="208190"/>
                  </a:cubicBezTo>
                  <a:cubicBezTo>
                    <a:pt x="38486" y="205586"/>
                    <a:pt x="36327" y="203681"/>
                    <a:pt x="35184" y="202474"/>
                  </a:cubicBezTo>
                  <a:cubicBezTo>
                    <a:pt x="33978" y="201332"/>
                    <a:pt x="32041" y="199172"/>
                    <a:pt x="29374" y="195998"/>
                  </a:cubicBezTo>
                  <a:cubicBezTo>
                    <a:pt x="5561" y="167423"/>
                    <a:pt x="-3773" y="135863"/>
                    <a:pt x="1370" y="101319"/>
                  </a:cubicBezTo>
                  <a:cubicBezTo>
                    <a:pt x="4799" y="78205"/>
                    <a:pt x="15245" y="57345"/>
                    <a:pt x="32708" y="38740"/>
                  </a:cubicBezTo>
                  <a:cubicBezTo>
                    <a:pt x="50170" y="20134"/>
                    <a:pt x="71411" y="7942"/>
                    <a:pt x="96430" y="2164"/>
                  </a:cubicBezTo>
                  <a:cubicBezTo>
                    <a:pt x="107479" y="-440"/>
                    <a:pt x="117131" y="-694"/>
                    <a:pt x="125386" y="1402"/>
                  </a:cubicBezTo>
                  <a:cubicBezTo>
                    <a:pt x="143007" y="5688"/>
                    <a:pt x="145198" y="24262"/>
                    <a:pt x="137483" y="38359"/>
                  </a:cubicBezTo>
                  <a:cubicBezTo>
                    <a:pt x="136149" y="40708"/>
                    <a:pt x="133736" y="42423"/>
                    <a:pt x="130244" y="43502"/>
                  </a:cubicBezTo>
                  <a:cubicBezTo>
                    <a:pt x="115670" y="48169"/>
                    <a:pt x="96430" y="48455"/>
                    <a:pt x="81095" y="59219"/>
                  </a:cubicBezTo>
                  <a:cubicBezTo>
                    <a:pt x="42518" y="86269"/>
                    <a:pt x="34994" y="133228"/>
                    <a:pt x="69760" y="167803"/>
                  </a:cubicBezTo>
                  <a:close/>
                </a:path>
              </a:pathLst>
            </a:custGeom>
            <a:solidFill>
              <a:schemeClr val="accent1"/>
            </a:solidFill>
            <a:ln w="1905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fr-FR" dirty="0"/>
            </a:p>
          </p:txBody>
        </p:sp>
        <p:sp>
          <p:nvSpPr>
            <p:cNvPr id="104" name="Free-form: Shape 616">
              <a:extLst>
                <a:ext uri="{FF2B5EF4-FFF2-40B4-BE49-F238E27FC236}">
                  <a16:creationId xmlns:a16="http://schemas.microsoft.com/office/drawing/2014/main" id="{67E36FE5-525A-F71B-542C-028091458D56}"/>
                </a:ext>
              </a:extLst>
            </p:cNvPr>
            <p:cNvSpPr/>
            <p:nvPr/>
          </p:nvSpPr>
          <p:spPr>
            <a:xfrm>
              <a:off x="5211998" y="5102484"/>
              <a:ext cx="227802" cy="236623"/>
            </a:xfrm>
            <a:custGeom>
              <a:avLst/>
              <a:gdLst>
                <a:gd name="connsiteX0" fmla="*/ 192310 w 227802"/>
                <a:gd name="connsiteY0" fmla="*/ 97063 h 236623"/>
                <a:gd name="connsiteX1" fmla="*/ 225838 w 227802"/>
                <a:gd name="connsiteY1" fmla="*/ 139640 h 236623"/>
                <a:gd name="connsiteX2" fmla="*/ 76391 w 227802"/>
                <a:gd name="connsiteY2" fmla="*/ 229270 h 236623"/>
                <a:gd name="connsiteX3" fmla="*/ 21146 w 227802"/>
                <a:gd name="connsiteY3" fmla="*/ 183931 h 236623"/>
                <a:gd name="connsiteX4" fmla="*/ 0 w 227802"/>
                <a:gd name="connsiteY4" fmla="*/ 118971 h 236623"/>
                <a:gd name="connsiteX5" fmla="*/ 66294 w 227802"/>
                <a:gd name="connsiteY5" fmla="*/ 10862 h 236623"/>
                <a:gd name="connsiteX6" fmla="*/ 117920 w 227802"/>
                <a:gd name="connsiteY6" fmla="*/ 480 h 236623"/>
                <a:gd name="connsiteX7" fmla="*/ 137827 w 227802"/>
                <a:gd name="connsiteY7" fmla="*/ 22768 h 236623"/>
                <a:gd name="connsiteX8" fmla="*/ 119539 w 227802"/>
                <a:gd name="connsiteY8" fmla="*/ 44580 h 236623"/>
                <a:gd name="connsiteX9" fmla="*/ 56960 w 227802"/>
                <a:gd name="connsiteY9" fmla="*/ 82966 h 236623"/>
                <a:gd name="connsiteX10" fmla="*/ 68580 w 227802"/>
                <a:gd name="connsiteY10" fmla="*/ 167834 h 236623"/>
                <a:gd name="connsiteX11" fmla="*/ 123920 w 227802"/>
                <a:gd name="connsiteY11" fmla="*/ 188027 h 236623"/>
                <a:gd name="connsiteX12" fmla="*/ 175355 w 227802"/>
                <a:gd name="connsiteY12" fmla="*/ 143069 h 236623"/>
                <a:gd name="connsiteX13" fmla="*/ 185738 w 227802"/>
                <a:gd name="connsiteY13" fmla="*/ 103064 h 236623"/>
                <a:gd name="connsiteX14" fmla="*/ 192310 w 227802"/>
                <a:gd name="connsiteY14" fmla="*/ 97063 h 236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7802" h="236623">
                  <a:moveTo>
                    <a:pt x="192310" y="97063"/>
                  </a:moveTo>
                  <a:cubicBezTo>
                    <a:pt x="226409" y="84966"/>
                    <a:pt x="231458" y="115256"/>
                    <a:pt x="225838" y="139640"/>
                  </a:cubicBezTo>
                  <a:cubicBezTo>
                    <a:pt x="209931" y="208029"/>
                    <a:pt x="146590" y="255559"/>
                    <a:pt x="76391" y="229270"/>
                  </a:cubicBezTo>
                  <a:cubicBezTo>
                    <a:pt x="55436" y="221460"/>
                    <a:pt x="37021" y="206347"/>
                    <a:pt x="21146" y="183931"/>
                  </a:cubicBezTo>
                  <a:cubicBezTo>
                    <a:pt x="7112" y="164119"/>
                    <a:pt x="64" y="142466"/>
                    <a:pt x="0" y="118971"/>
                  </a:cubicBezTo>
                  <a:cubicBezTo>
                    <a:pt x="-63" y="72108"/>
                    <a:pt x="22035" y="36072"/>
                    <a:pt x="66294" y="10862"/>
                  </a:cubicBezTo>
                  <a:cubicBezTo>
                    <a:pt x="81661" y="2099"/>
                    <a:pt x="98870" y="-1362"/>
                    <a:pt x="117920" y="480"/>
                  </a:cubicBezTo>
                  <a:cubicBezTo>
                    <a:pt x="129335" y="1616"/>
                    <a:pt x="137982" y="11298"/>
                    <a:pt x="137827" y="22768"/>
                  </a:cubicBezTo>
                  <a:cubicBezTo>
                    <a:pt x="137636" y="34833"/>
                    <a:pt x="131540" y="42104"/>
                    <a:pt x="119539" y="44580"/>
                  </a:cubicBezTo>
                  <a:cubicBezTo>
                    <a:pt x="90297" y="50581"/>
                    <a:pt x="69247" y="57534"/>
                    <a:pt x="56960" y="82966"/>
                  </a:cubicBezTo>
                  <a:cubicBezTo>
                    <a:pt x="41402" y="114970"/>
                    <a:pt x="45276" y="143259"/>
                    <a:pt x="68580" y="167834"/>
                  </a:cubicBezTo>
                  <a:cubicBezTo>
                    <a:pt x="83947" y="184153"/>
                    <a:pt x="102394" y="190884"/>
                    <a:pt x="123920" y="188027"/>
                  </a:cubicBezTo>
                  <a:cubicBezTo>
                    <a:pt x="146971" y="184979"/>
                    <a:pt x="164116" y="169993"/>
                    <a:pt x="175355" y="143069"/>
                  </a:cubicBezTo>
                  <a:cubicBezTo>
                    <a:pt x="179546" y="133068"/>
                    <a:pt x="179642" y="116304"/>
                    <a:pt x="185738" y="103064"/>
                  </a:cubicBezTo>
                  <a:cubicBezTo>
                    <a:pt x="187071" y="100143"/>
                    <a:pt x="189262" y="98143"/>
                    <a:pt x="192310" y="97063"/>
                  </a:cubicBezTo>
                  <a:close/>
                </a:path>
              </a:pathLst>
            </a:custGeom>
            <a:solidFill>
              <a:schemeClr val="accent1"/>
            </a:solidFill>
            <a:ln w="1905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fr-FR" dirty="0"/>
            </a:p>
          </p:txBody>
        </p:sp>
        <p:sp>
          <p:nvSpPr>
            <p:cNvPr id="105" name="Free-form: Shape 617">
              <a:extLst>
                <a:ext uri="{FF2B5EF4-FFF2-40B4-BE49-F238E27FC236}">
                  <a16:creationId xmlns:a16="http://schemas.microsoft.com/office/drawing/2014/main" id="{9F02DA13-0689-8F36-B575-1620A129C024}"/>
                </a:ext>
              </a:extLst>
            </p:cNvPr>
            <p:cNvSpPr/>
            <p:nvPr/>
          </p:nvSpPr>
          <p:spPr>
            <a:xfrm>
              <a:off x="3506547" y="5559409"/>
              <a:ext cx="2867025" cy="266025"/>
            </a:xfrm>
            <a:custGeom>
              <a:avLst/>
              <a:gdLst>
                <a:gd name="connsiteX0" fmla="*/ 2867025 w 2867025"/>
                <a:gd name="connsiteY0" fmla="*/ 8374 h 266025"/>
                <a:gd name="connsiteX1" fmla="*/ 2867025 w 2867025"/>
                <a:gd name="connsiteY1" fmla="*/ 11136 h 266025"/>
                <a:gd name="connsiteX2" fmla="*/ 2859691 w 2867025"/>
                <a:gd name="connsiteY2" fmla="*/ 16946 h 266025"/>
                <a:gd name="connsiteX3" fmla="*/ 2858167 w 2867025"/>
                <a:gd name="connsiteY3" fmla="*/ 25138 h 266025"/>
                <a:gd name="connsiteX4" fmla="*/ 2867025 w 2867025"/>
                <a:gd name="connsiteY4" fmla="*/ 30186 h 266025"/>
                <a:gd name="connsiteX5" fmla="*/ 2867025 w 2867025"/>
                <a:gd name="connsiteY5" fmla="*/ 37425 h 266025"/>
                <a:gd name="connsiteX6" fmla="*/ 2638044 w 2867025"/>
                <a:gd name="connsiteY6" fmla="*/ 266025 h 266025"/>
                <a:gd name="connsiteX7" fmla="*/ 231172 w 2867025"/>
                <a:gd name="connsiteY7" fmla="*/ 266025 h 266025"/>
                <a:gd name="connsiteX8" fmla="*/ 0 w 2867025"/>
                <a:gd name="connsiteY8" fmla="*/ 35520 h 266025"/>
                <a:gd name="connsiteX9" fmla="*/ 0 w 2867025"/>
                <a:gd name="connsiteY9" fmla="*/ 19137 h 266025"/>
                <a:gd name="connsiteX10" fmla="*/ 38195 w 2867025"/>
                <a:gd name="connsiteY10" fmla="*/ 4468 h 266025"/>
                <a:gd name="connsiteX11" fmla="*/ 43910 w 2867025"/>
                <a:gd name="connsiteY11" fmla="*/ 11327 h 266025"/>
                <a:gd name="connsiteX12" fmla="*/ 57531 w 2867025"/>
                <a:gd name="connsiteY12" fmla="*/ 80859 h 266025"/>
                <a:gd name="connsiteX13" fmla="*/ 254794 w 2867025"/>
                <a:gd name="connsiteY13" fmla="*/ 218495 h 266025"/>
                <a:gd name="connsiteX14" fmla="*/ 2605088 w 2867025"/>
                <a:gd name="connsiteY14" fmla="*/ 218495 h 266025"/>
                <a:gd name="connsiteX15" fmla="*/ 2810256 w 2867025"/>
                <a:gd name="connsiteY15" fmla="*/ 81145 h 266025"/>
                <a:gd name="connsiteX16" fmla="*/ 2823401 w 2867025"/>
                <a:gd name="connsiteY16" fmla="*/ 10374 h 266025"/>
                <a:gd name="connsiteX17" fmla="*/ 2829401 w 2867025"/>
                <a:gd name="connsiteY17" fmla="*/ 3707 h 266025"/>
                <a:gd name="connsiteX18" fmla="*/ 2867025 w 2867025"/>
                <a:gd name="connsiteY18" fmla="*/ 8374 h 266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67025" h="266025">
                  <a:moveTo>
                    <a:pt x="2867025" y="8374"/>
                  </a:moveTo>
                  <a:cubicBezTo>
                    <a:pt x="2867025" y="9263"/>
                    <a:pt x="2867025" y="10184"/>
                    <a:pt x="2867025" y="11136"/>
                  </a:cubicBezTo>
                  <a:cubicBezTo>
                    <a:pt x="2863977" y="12851"/>
                    <a:pt x="2861532" y="14787"/>
                    <a:pt x="2859691" y="16946"/>
                  </a:cubicBezTo>
                  <a:cubicBezTo>
                    <a:pt x="2857278" y="19804"/>
                    <a:pt x="2856770" y="22534"/>
                    <a:pt x="2858167" y="25138"/>
                  </a:cubicBezTo>
                  <a:cubicBezTo>
                    <a:pt x="2859500" y="27741"/>
                    <a:pt x="2862453" y="29424"/>
                    <a:pt x="2867025" y="30186"/>
                  </a:cubicBezTo>
                  <a:lnTo>
                    <a:pt x="2867025" y="37425"/>
                  </a:lnTo>
                  <a:cubicBezTo>
                    <a:pt x="2848483" y="171855"/>
                    <a:pt x="2772156" y="248055"/>
                    <a:pt x="2638044" y="266025"/>
                  </a:cubicBezTo>
                  <a:lnTo>
                    <a:pt x="231172" y="266025"/>
                  </a:lnTo>
                  <a:cubicBezTo>
                    <a:pt x="95345" y="248499"/>
                    <a:pt x="18288" y="171664"/>
                    <a:pt x="0" y="35520"/>
                  </a:cubicBezTo>
                  <a:lnTo>
                    <a:pt x="0" y="19137"/>
                  </a:lnTo>
                  <a:cubicBezTo>
                    <a:pt x="7303" y="214"/>
                    <a:pt x="20034" y="-4675"/>
                    <a:pt x="38195" y="4468"/>
                  </a:cubicBezTo>
                  <a:cubicBezTo>
                    <a:pt x="41116" y="5929"/>
                    <a:pt x="43021" y="8215"/>
                    <a:pt x="43910" y="11327"/>
                  </a:cubicBezTo>
                  <a:cubicBezTo>
                    <a:pt x="50959" y="35711"/>
                    <a:pt x="48673" y="56856"/>
                    <a:pt x="57531" y="80859"/>
                  </a:cubicBezTo>
                  <a:cubicBezTo>
                    <a:pt x="91631" y="172617"/>
                    <a:pt x="157385" y="218495"/>
                    <a:pt x="254794" y="218495"/>
                  </a:cubicBezTo>
                  <a:cubicBezTo>
                    <a:pt x="709644" y="218368"/>
                    <a:pt x="1493075" y="218368"/>
                    <a:pt x="2605088" y="218495"/>
                  </a:cubicBezTo>
                  <a:cubicBezTo>
                    <a:pt x="2709418" y="218495"/>
                    <a:pt x="2777808" y="172712"/>
                    <a:pt x="2810256" y="81145"/>
                  </a:cubicBezTo>
                  <a:cubicBezTo>
                    <a:pt x="2818353" y="58285"/>
                    <a:pt x="2815876" y="33139"/>
                    <a:pt x="2823401" y="10374"/>
                  </a:cubicBezTo>
                  <a:cubicBezTo>
                    <a:pt x="2824417" y="7263"/>
                    <a:pt x="2826417" y="5040"/>
                    <a:pt x="2829401" y="3707"/>
                  </a:cubicBezTo>
                  <a:cubicBezTo>
                    <a:pt x="2840768" y="-1437"/>
                    <a:pt x="2853309" y="119"/>
                    <a:pt x="2867025" y="8374"/>
                  </a:cubicBezTo>
                  <a:close/>
                </a:path>
              </a:pathLst>
            </a:custGeom>
            <a:grp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fr-FR" dirty="0"/>
            </a:p>
          </p:txBody>
        </p:sp>
      </p:grp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8401286D-4F82-4175-4C7B-E5C31676DD47}"/>
              </a:ext>
            </a:extLst>
          </p:cNvPr>
          <p:cNvGrpSpPr/>
          <p:nvPr/>
        </p:nvGrpSpPr>
        <p:grpSpPr>
          <a:xfrm>
            <a:off x="5716093" y="2910493"/>
            <a:ext cx="1903578" cy="1602987"/>
            <a:chOff x="6971981" y="3470484"/>
            <a:chExt cx="692646" cy="583273"/>
          </a:xfrm>
        </p:grpSpPr>
        <p:sp>
          <p:nvSpPr>
            <p:cNvPr id="119" name="Freeform 681">
              <a:extLst>
                <a:ext uri="{FF2B5EF4-FFF2-40B4-BE49-F238E27FC236}">
                  <a16:creationId xmlns:a16="http://schemas.microsoft.com/office/drawing/2014/main" id="{003F1F4A-755D-88E8-BFA2-18668358727E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0101" y="3541617"/>
              <a:ext cx="589280" cy="213089"/>
            </a:xfrm>
            <a:custGeom>
              <a:avLst/>
              <a:gdLst>
                <a:gd name="T0" fmla="*/ 8 w 391"/>
                <a:gd name="T1" fmla="*/ 142 h 142"/>
                <a:gd name="T2" fmla="*/ 0 w 391"/>
                <a:gd name="T3" fmla="*/ 135 h 142"/>
                <a:gd name="T4" fmla="*/ 0 w 391"/>
                <a:gd name="T5" fmla="*/ 7 h 142"/>
                <a:gd name="T6" fmla="*/ 8 w 391"/>
                <a:gd name="T7" fmla="*/ 0 h 142"/>
                <a:gd name="T8" fmla="*/ 384 w 391"/>
                <a:gd name="T9" fmla="*/ 0 h 142"/>
                <a:gd name="T10" fmla="*/ 391 w 391"/>
                <a:gd name="T11" fmla="*/ 7 h 142"/>
                <a:gd name="T12" fmla="*/ 391 w 391"/>
                <a:gd name="T13" fmla="*/ 98 h 142"/>
                <a:gd name="T14" fmla="*/ 384 w 391"/>
                <a:gd name="T15" fmla="*/ 106 h 142"/>
                <a:gd name="T16" fmla="*/ 377 w 391"/>
                <a:gd name="T17" fmla="*/ 98 h 142"/>
                <a:gd name="T18" fmla="*/ 377 w 391"/>
                <a:gd name="T19" fmla="*/ 14 h 142"/>
                <a:gd name="T20" fmla="*/ 15 w 391"/>
                <a:gd name="T21" fmla="*/ 14 h 142"/>
                <a:gd name="T22" fmla="*/ 15 w 391"/>
                <a:gd name="T23" fmla="*/ 135 h 142"/>
                <a:gd name="T24" fmla="*/ 8 w 391"/>
                <a:gd name="T2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1" h="142">
                  <a:moveTo>
                    <a:pt x="8" y="142"/>
                  </a:moveTo>
                  <a:cubicBezTo>
                    <a:pt x="4" y="142"/>
                    <a:pt x="0" y="139"/>
                    <a:pt x="0" y="135"/>
                  </a:cubicBezTo>
                  <a:lnTo>
                    <a:pt x="0" y="7"/>
                  </a:lnTo>
                  <a:cubicBezTo>
                    <a:pt x="0" y="3"/>
                    <a:pt x="4" y="0"/>
                    <a:pt x="8" y="0"/>
                  </a:cubicBezTo>
                  <a:lnTo>
                    <a:pt x="384" y="0"/>
                  </a:lnTo>
                  <a:cubicBezTo>
                    <a:pt x="388" y="0"/>
                    <a:pt x="391" y="3"/>
                    <a:pt x="391" y="7"/>
                  </a:cubicBezTo>
                  <a:lnTo>
                    <a:pt x="391" y="98"/>
                  </a:lnTo>
                  <a:cubicBezTo>
                    <a:pt x="391" y="103"/>
                    <a:pt x="388" y="106"/>
                    <a:pt x="384" y="106"/>
                  </a:cubicBezTo>
                  <a:cubicBezTo>
                    <a:pt x="380" y="106"/>
                    <a:pt x="377" y="103"/>
                    <a:pt x="377" y="98"/>
                  </a:cubicBezTo>
                  <a:lnTo>
                    <a:pt x="377" y="14"/>
                  </a:lnTo>
                  <a:lnTo>
                    <a:pt x="15" y="14"/>
                  </a:lnTo>
                  <a:lnTo>
                    <a:pt x="15" y="135"/>
                  </a:lnTo>
                  <a:cubicBezTo>
                    <a:pt x="15" y="139"/>
                    <a:pt x="12" y="142"/>
                    <a:pt x="8" y="142"/>
                  </a:cubicBezTo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20" name="Freeform 682">
              <a:extLst>
                <a:ext uri="{FF2B5EF4-FFF2-40B4-BE49-F238E27FC236}">
                  <a16:creationId xmlns:a16="http://schemas.microsoft.com/office/drawing/2014/main" id="{6106E170-B107-940B-4756-EBC580635B07}"/>
                </a:ext>
              </a:extLst>
            </p:cNvPr>
            <p:cNvSpPr>
              <a:spLocks/>
            </p:cNvSpPr>
            <p:nvPr/>
          </p:nvSpPr>
          <p:spPr bwMode="auto">
            <a:xfrm>
              <a:off x="7325264" y="3862564"/>
              <a:ext cx="284117" cy="144690"/>
            </a:xfrm>
            <a:custGeom>
              <a:avLst/>
              <a:gdLst>
                <a:gd name="T0" fmla="*/ 181 w 188"/>
                <a:gd name="T1" fmla="*/ 96 h 96"/>
                <a:gd name="T2" fmla="*/ 7 w 188"/>
                <a:gd name="T3" fmla="*/ 96 h 96"/>
                <a:gd name="T4" fmla="*/ 0 w 188"/>
                <a:gd name="T5" fmla="*/ 89 h 96"/>
                <a:gd name="T6" fmla="*/ 7 w 188"/>
                <a:gd name="T7" fmla="*/ 82 h 96"/>
                <a:gd name="T8" fmla="*/ 174 w 188"/>
                <a:gd name="T9" fmla="*/ 82 h 96"/>
                <a:gd name="T10" fmla="*/ 174 w 188"/>
                <a:gd name="T11" fmla="*/ 8 h 96"/>
                <a:gd name="T12" fmla="*/ 181 w 188"/>
                <a:gd name="T13" fmla="*/ 0 h 96"/>
                <a:gd name="T14" fmla="*/ 188 w 188"/>
                <a:gd name="T15" fmla="*/ 8 h 96"/>
                <a:gd name="T16" fmla="*/ 188 w 188"/>
                <a:gd name="T17" fmla="*/ 89 h 96"/>
                <a:gd name="T18" fmla="*/ 181 w 188"/>
                <a:gd name="T19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8" h="96">
                  <a:moveTo>
                    <a:pt x="181" y="96"/>
                  </a:moveTo>
                  <a:lnTo>
                    <a:pt x="7" y="96"/>
                  </a:lnTo>
                  <a:cubicBezTo>
                    <a:pt x="3" y="96"/>
                    <a:pt x="0" y="93"/>
                    <a:pt x="0" y="89"/>
                  </a:cubicBezTo>
                  <a:cubicBezTo>
                    <a:pt x="0" y="85"/>
                    <a:pt x="3" y="82"/>
                    <a:pt x="7" y="82"/>
                  </a:cubicBezTo>
                  <a:lnTo>
                    <a:pt x="174" y="82"/>
                  </a:lnTo>
                  <a:lnTo>
                    <a:pt x="174" y="8"/>
                  </a:lnTo>
                  <a:cubicBezTo>
                    <a:pt x="174" y="4"/>
                    <a:pt x="177" y="0"/>
                    <a:pt x="181" y="0"/>
                  </a:cubicBezTo>
                  <a:cubicBezTo>
                    <a:pt x="185" y="0"/>
                    <a:pt x="188" y="4"/>
                    <a:pt x="188" y="8"/>
                  </a:cubicBezTo>
                  <a:lnTo>
                    <a:pt x="188" y="89"/>
                  </a:lnTo>
                  <a:cubicBezTo>
                    <a:pt x="188" y="93"/>
                    <a:pt x="185" y="96"/>
                    <a:pt x="181" y="96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21" name="Freeform 683">
              <a:extLst>
                <a:ext uri="{FF2B5EF4-FFF2-40B4-BE49-F238E27FC236}">
                  <a16:creationId xmlns:a16="http://schemas.microsoft.com/office/drawing/2014/main" id="{206DC836-682D-34BB-3AA6-6FFB698255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48909" y="3699460"/>
              <a:ext cx="215718" cy="152581"/>
            </a:xfrm>
            <a:custGeom>
              <a:avLst/>
              <a:gdLst>
                <a:gd name="T0" fmla="*/ 37 w 144"/>
                <a:gd name="T1" fmla="*/ 15 h 101"/>
                <a:gd name="T2" fmla="*/ 15 w 144"/>
                <a:gd name="T3" fmla="*/ 37 h 101"/>
                <a:gd name="T4" fmla="*/ 15 w 144"/>
                <a:gd name="T5" fmla="*/ 65 h 101"/>
                <a:gd name="T6" fmla="*/ 37 w 144"/>
                <a:gd name="T7" fmla="*/ 87 h 101"/>
                <a:gd name="T8" fmla="*/ 107 w 144"/>
                <a:gd name="T9" fmla="*/ 87 h 101"/>
                <a:gd name="T10" fmla="*/ 130 w 144"/>
                <a:gd name="T11" fmla="*/ 65 h 101"/>
                <a:gd name="T12" fmla="*/ 130 w 144"/>
                <a:gd name="T13" fmla="*/ 37 h 101"/>
                <a:gd name="T14" fmla="*/ 107 w 144"/>
                <a:gd name="T15" fmla="*/ 15 h 101"/>
                <a:gd name="T16" fmla="*/ 37 w 144"/>
                <a:gd name="T17" fmla="*/ 15 h 101"/>
                <a:gd name="T18" fmla="*/ 107 w 144"/>
                <a:gd name="T19" fmla="*/ 101 h 101"/>
                <a:gd name="T20" fmla="*/ 37 w 144"/>
                <a:gd name="T21" fmla="*/ 101 h 101"/>
                <a:gd name="T22" fmla="*/ 0 w 144"/>
                <a:gd name="T23" fmla="*/ 65 h 101"/>
                <a:gd name="T24" fmla="*/ 0 w 144"/>
                <a:gd name="T25" fmla="*/ 37 h 101"/>
                <a:gd name="T26" fmla="*/ 37 w 144"/>
                <a:gd name="T27" fmla="*/ 0 h 101"/>
                <a:gd name="T28" fmla="*/ 107 w 144"/>
                <a:gd name="T29" fmla="*/ 0 h 101"/>
                <a:gd name="T30" fmla="*/ 144 w 144"/>
                <a:gd name="T31" fmla="*/ 37 h 101"/>
                <a:gd name="T32" fmla="*/ 144 w 144"/>
                <a:gd name="T33" fmla="*/ 65 h 101"/>
                <a:gd name="T34" fmla="*/ 107 w 144"/>
                <a:gd name="T3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4" h="101">
                  <a:moveTo>
                    <a:pt x="37" y="15"/>
                  </a:moveTo>
                  <a:cubicBezTo>
                    <a:pt x="24" y="15"/>
                    <a:pt x="15" y="25"/>
                    <a:pt x="15" y="37"/>
                  </a:cubicBezTo>
                  <a:lnTo>
                    <a:pt x="15" y="65"/>
                  </a:lnTo>
                  <a:cubicBezTo>
                    <a:pt x="15" y="77"/>
                    <a:pt x="24" y="87"/>
                    <a:pt x="37" y="87"/>
                  </a:cubicBezTo>
                  <a:lnTo>
                    <a:pt x="107" y="87"/>
                  </a:lnTo>
                  <a:cubicBezTo>
                    <a:pt x="120" y="87"/>
                    <a:pt x="130" y="77"/>
                    <a:pt x="130" y="65"/>
                  </a:cubicBezTo>
                  <a:lnTo>
                    <a:pt x="130" y="37"/>
                  </a:lnTo>
                  <a:cubicBezTo>
                    <a:pt x="130" y="25"/>
                    <a:pt x="120" y="15"/>
                    <a:pt x="107" y="15"/>
                  </a:cubicBezTo>
                  <a:lnTo>
                    <a:pt x="37" y="15"/>
                  </a:lnTo>
                  <a:close/>
                  <a:moveTo>
                    <a:pt x="107" y="101"/>
                  </a:moveTo>
                  <a:lnTo>
                    <a:pt x="37" y="101"/>
                  </a:lnTo>
                  <a:cubicBezTo>
                    <a:pt x="16" y="101"/>
                    <a:pt x="0" y="85"/>
                    <a:pt x="0" y="65"/>
                  </a:cubicBezTo>
                  <a:lnTo>
                    <a:pt x="0" y="37"/>
                  </a:lnTo>
                  <a:cubicBezTo>
                    <a:pt x="0" y="17"/>
                    <a:pt x="16" y="0"/>
                    <a:pt x="37" y="0"/>
                  </a:cubicBezTo>
                  <a:lnTo>
                    <a:pt x="107" y="0"/>
                  </a:lnTo>
                  <a:cubicBezTo>
                    <a:pt x="128" y="0"/>
                    <a:pt x="144" y="17"/>
                    <a:pt x="144" y="37"/>
                  </a:cubicBezTo>
                  <a:lnTo>
                    <a:pt x="144" y="65"/>
                  </a:lnTo>
                  <a:cubicBezTo>
                    <a:pt x="144" y="85"/>
                    <a:pt x="128" y="101"/>
                    <a:pt x="107" y="101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22" name="Freeform 684">
              <a:extLst>
                <a:ext uri="{FF2B5EF4-FFF2-40B4-BE49-F238E27FC236}">
                  <a16:creationId xmlns:a16="http://schemas.microsoft.com/office/drawing/2014/main" id="{C544603F-2156-2707-5A8D-B50DC68549C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6376" y="3470484"/>
              <a:ext cx="360409" cy="89444"/>
            </a:xfrm>
            <a:custGeom>
              <a:avLst/>
              <a:gdLst>
                <a:gd name="T0" fmla="*/ 230 w 238"/>
                <a:gd name="T1" fmla="*/ 59 h 59"/>
                <a:gd name="T2" fmla="*/ 223 w 238"/>
                <a:gd name="T3" fmla="*/ 54 h 59"/>
                <a:gd name="T4" fmla="*/ 206 w 238"/>
                <a:gd name="T5" fmla="*/ 17 h 59"/>
                <a:gd name="T6" fmla="*/ 10 w 238"/>
                <a:gd name="T7" fmla="*/ 59 h 59"/>
                <a:gd name="T8" fmla="*/ 1 w 238"/>
                <a:gd name="T9" fmla="*/ 53 h 59"/>
                <a:gd name="T10" fmla="*/ 7 w 238"/>
                <a:gd name="T11" fmla="*/ 44 h 59"/>
                <a:gd name="T12" fmla="*/ 209 w 238"/>
                <a:gd name="T13" fmla="*/ 1 h 59"/>
                <a:gd name="T14" fmla="*/ 217 w 238"/>
                <a:gd name="T15" fmla="*/ 5 h 59"/>
                <a:gd name="T16" fmla="*/ 236 w 238"/>
                <a:gd name="T17" fmla="*/ 49 h 59"/>
                <a:gd name="T18" fmla="*/ 232 w 238"/>
                <a:gd name="T19" fmla="*/ 58 h 59"/>
                <a:gd name="T20" fmla="*/ 230 w 238"/>
                <a:gd name="T21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8" h="59">
                  <a:moveTo>
                    <a:pt x="230" y="59"/>
                  </a:moveTo>
                  <a:cubicBezTo>
                    <a:pt x="227" y="59"/>
                    <a:pt x="224" y="57"/>
                    <a:pt x="223" y="54"/>
                  </a:cubicBezTo>
                  <a:lnTo>
                    <a:pt x="206" y="17"/>
                  </a:lnTo>
                  <a:lnTo>
                    <a:pt x="10" y="59"/>
                  </a:lnTo>
                  <a:cubicBezTo>
                    <a:pt x="6" y="59"/>
                    <a:pt x="2" y="57"/>
                    <a:pt x="1" y="53"/>
                  </a:cubicBezTo>
                  <a:cubicBezTo>
                    <a:pt x="0" y="49"/>
                    <a:pt x="3" y="45"/>
                    <a:pt x="7" y="44"/>
                  </a:cubicBezTo>
                  <a:lnTo>
                    <a:pt x="209" y="1"/>
                  </a:lnTo>
                  <a:cubicBezTo>
                    <a:pt x="213" y="0"/>
                    <a:pt x="216" y="2"/>
                    <a:pt x="217" y="5"/>
                  </a:cubicBezTo>
                  <a:lnTo>
                    <a:pt x="236" y="49"/>
                  </a:lnTo>
                  <a:cubicBezTo>
                    <a:pt x="238" y="52"/>
                    <a:pt x="236" y="57"/>
                    <a:pt x="232" y="58"/>
                  </a:cubicBezTo>
                  <a:cubicBezTo>
                    <a:pt x="232" y="59"/>
                    <a:pt x="231" y="59"/>
                    <a:pt x="230" y="59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24" name="Freeform 686">
              <a:extLst>
                <a:ext uri="{FF2B5EF4-FFF2-40B4-BE49-F238E27FC236}">
                  <a16:creationId xmlns:a16="http://schemas.microsoft.com/office/drawing/2014/main" id="{0961B805-75AA-08E4-784B-00D3779254E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1981" y="3745029"/>
              <a:ext cx="389173" cy="308728"/>
            </a:xfrm>
            <a:custGeom>
              <a:avLst/>
              <a:gdLst>
                <a:gd name="T0" fmla="*/ 257 w 311"/>
                <a:gd name="T1" fmla="*/ 247 h 247"/>
                <a:gd name="T2" fmla="*/ 227 w 311"/>
                <a:gd name="T3" fmla="*/ 247 h 247"/>
                <a:gd name="T4" fmla="*/ 220 w 311"/>
                <a:gd name="T5" fmla="*/ 243 h 247"/>
                <a:gd name="T6" fmla="*/ 212 w 311"/>
                <a:gd name="T7" fmla="*/ 224 h 247"/>
                <a:gd name="T8" fmla="*/ 133 w 311"/>
                <a:gd name="T9" fmla="*/ 222 h 247"/>
                <a:gd name="T10" fmla="*/ 119 w 311"/>
                <a:gd name="T11" fmla="*/ 244 h 247"/>
                <a:gd name="T12" fmla="*/ 113 w 311"/>
                <a:gd name="T13" fmla="*/ 247 h 247"/>
                <a:gd name="T14" fmla="*/ 87 w 311"/>
                <a:gd name="T15" fmla="*/ 247 h 247"/>
                <a:gd name="T16" fmla="*/ 80 w 311"/>
                <a:gd name="T17" fmla="*/ 240 h 247"/>
                <a:gd name="T18" fmla="*/ 79 w 311"/>
                <a:gd name="T19" fmla="*/ 201 h 247"/>
                <a:gd name="T20" fmla="*/ 13 w 311"/>
                <a:gd name="T21" fmla="*/ 147 h 247"/>
                <a:gd name="T22" fmla="*/ 4 w 311"/>
                <a:gd name="T23" fmla="*/ 104 h 247"/>
                <a:gd name="T24" fmla="*/ 11 w 311"/>
                <a:gd name="T25" fmla="*/ 98 h 247"/>
                <a:gd name="T26" fmla="*/ 11 w 311"/>
                <a:gd name="T27" fmla="*/ 98 h 247"/>
                <a:gd name="T28" fmla="*/ 29 w 311"/>
                <a:gd name="T29" fmla="*/ 98 h 247"/>
                <a:gd name="T30" fmla="*/ 29 w 311"/>
                <a:gd name="T31" fmla="*/ 98 h 247"/>
                <a:gd name="T32" fmla="*/ 49 w 311"/>
                <a:gd name="T33" fmla="*/ 80 h 247"/>
                <a:gd name="T34" fmla="*/ 53 w 311"/>
                <a:gd name="T35" fmla="*/ 65 h 247"/>
                <a:gd name="T36" fmla="*/ 48 w 311"/>
                <a:gd name="T37" fmla="*/ 58 h 247"/>
                <a:gd name="T38" fmla="*/ 44 w 311"/>
                <a:gd name="T39" fmla="*/ 50 h 247"/>
                <a:gd name="T40" fmla="*/ 67 w 311"/>
                <a:gd name="T41" fmla="*/ 35 h 247"/>
                <a:gd name="T42" fmla="*/ 110 w 311"/>
                <a:gd name="T43" fmla="*/ 70 h 247"/>
                <a:gd name="T44" fmla="*/ 108 w 311"/>
                <a:gd name="T45" fmla="*/ 80 h 247"/>
                <a:gd name="T46" fmla="*/ 98 w 311"/>
                <a:gd name="T47" fmla="*/ 79 h 247"/>
                <a:gd name="T48" fmla="*/ 67 w 311"/>
                <a:gd name="T49" fmla="*/ 50 h 247"/>
                <a:gd name="T50" fmla="*/ 61 w 311"/>
                <a:gd name="T51" fmla="*/ 51 h 247"/>
                <a:gd name="T52" fmla="*/ 67 w 311"/>
                <a:gd name="T53" fmla="*/ 61 h 247"/>
                <a:gd name="T54" fmla="*/ 61 w 311"/>
                <a:gd name="T55" fmla="*/ 88 h 247"/>
                <a:gd name="T56" fmla="*/ 28 w 311"/>
                <a:gd name="T57" fmla="*/ 113 h 247"/>
                <a:gd name="T58" fmla="*/ 18 w 311"/>
                <a:gd name="T59" fmla="*/ 113 h 247"/>
                <a:gd name="T60" fmla="*/ 23 w 311"/>
                <a:gd name="T61" fmla="*/ 137 h 247"/>
                <a:gd name="T62" fmla="*/ 90 w 311"/>
                <a:gd name="T63" fmla="*/ 191 h 247"/>
                <a:gd name="T64" fmla="*/ 93 w 311"/>
                <a:gd name="T65" fmla="*/ 197 h 247"/>
                <a:gd name="T66" fmla="*/ 94 w 311"/>
                <a:gd name="T67" fmla="*/ 233 h 247"/>
                <a:gd name="T68" fmla="*/ 109 w 311"/>
                <a:gd name="T69" fmla="*/ 233 h 247"/>
                <a:gd name="T70" fmla="*/ 124 w 311"/>
                <a:gd name="T71" fmla="*/ 209 h 247"/>
                <a:gd name="T72" fmla="*/ 133 w 311"/>
                <a:gd name="T73" fmla="*/ 207 h 247"/>
                <a:gd name="T74" fmla="*/ 215 w 311"/>
                <a:gd name="T75" fmla="*/ 209 h 247"/>
                <a:gd name="T76" fmla="*/ 223 w 311"/>
                <a:gd name="T77" fmla="*/ 213 h 247"/>
                <a:gd name="T78" fmla="*/ 232 w 311"/>
                <a:gd name="T79" fmla="*/ 233 h 247"/>
                <a:gd name="T80" fmla="*/ 250 w 311"/>
                <a:gd name="T81" fmla="*/ 233 h 247"/>
                <a:gd name="T82" fmla="*/ 250 w 311"/>
                <a:gd name="T83" fmla="*/ 193 h 247"/>
                <a:gd name="T84" fmla="*/ 252 w 311"/>
                <a:gd name="T85" fmla="*/ 188 h 247"/>
                <a:gd name="T86" fmla="*/ 267 w 311"/>
                <a:gd name="T87" fmla="*/ 90 h 247"/>
                <a:gd name="T88" fmla="*/ 121 w 311"/>
                <a:gd name="T89" fmla="*/ 64 h 247"/>
                <a:gd name="T90" fmla="*/ 111 w 311"/>
                <a:gd name="T91" fmla="*/ 60 h 247"/>
                <a:gd name="T92" fmla="*/ 115 w 311"/>
                <a:gd name="T93" fmla="*/ 50 h 247"/>
                <a:gd name="T94" fmla="*/ 280 w 311"/>
                <a:gd name="T95" fmla="*/ 83 h 247"/>
                <a:gd name="T96" fmla="*/ 264 w 311"/>
                <a:gd name="T97" fmla="*/ 196 h 247"/>
                <a:gd name="T98" fmla="*/ 264 w 311"/>
                <a:gd name="T99" fmla="*/ 240 h 247"/>
                <a:gd name="T100" fmla="*/ 257 w 311"/>
                <a:gd name="T101" fmla="*/ 247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11" h="247">
                  <a:moveTo>
                    <a:pt x="257" y="247"/>
                  </a:moveTo>
                  <a:lnTo>
                    <a:pt x="227" y="247"/>
                  </a:lnTo>
                  <a:cubicBezTo>
                    <a:pt x="224" y="247"/>
                    <a:pt x="222" y="246"/>
                    <a:pt x="220" y="243"/>
                  </a:cubicBezTo>
                  <a:lnTo>
                    <a:pt x="212" y="224"/>
                  </a:lnTo>
                  <a:cubicBezTo>
                    <a:pt x="198" y="227"/>
                    <a:pt x="162" y="232"/>
                    <a:pt x="133" y="222"/>
                  </a:cubicBezTo>
                  <a:lnTo>
                    <a:pt x="119" y="244"/>
                  </a:lnTo>
                  <a:cubicBezTo>
                    <a:pt x="117" y="246"/>
                    <a:pt x="115" y="247"/>
                    <a:pt x="113" y="247"/>
                  </a:cubicBezTo>
                  <a:lnTo>
                    <a:pt x="87" y="247"/>
                  </a:lnTo>
                  <a:cubicBezTo>
                    <a:pt x="83" y="247"/>
                    <a:pt x="80" y="244"/>
                    <a:pt x="80" y="240"/>
                  </a:cubicBezTo>
                  <a:lnTo>
                    <a:pt x="79" y="201"/>
                  </a:lnTo>
                  <a:cubicBezTo>
                    <a:pt x="67" y="192"/>
                    <a:pt x="23" y="157"/>
                    <a:pt x="13" y="147"/>
                  </a:cubicBezTo>
                  <a:cubicBezTo>
                    <a:pt x="0" y="134"/>
                    <a:pt x="3" y="107"/>
                    <a:pt x="4" y="104"/>
                  </a:cubicBezTo>
                  <a:cubicBezTo>
                    <a:pt x="4" y="101"/>
                    <a:pt x="7" y="98"/>
                    <a:pt x="11" y="98"/>
                  </a:cubicBezTo>
                  <a:lnTo>
                    <a:pt x="11" y="98"/>
                  </a:lnTo>
                  <a:lnTo>
                    <a:pt x="29" y="98"/>
                  </a:lnTo>
                  <a:cubicBezTo>
                    <a:pt x="29" y="98"/>
                    <a:pt x="29" y="98"/>
                    <a:pt x="29" y="98"/>
                  </a:cubicBezTo>
                  <a:cubicBezTo>
                    <a:pt x="29" y="98"/>
                    <a:pt x="37" y="98"/>
                    <a:pt x="49" y="80"/>
                  </a:cubicBezTo>
                  <a:cubicBezTo>
                    <a:pt x="52" y="74"/>
                    <a:pt x="54" y="69"/>
                    <a:pt x="53" y="65"/>
                  </a:cubicBezTo>
                  <a:cubicBezTo>
                    <a:pt x="51" y="60"/>
                    <a:pt x="48" y="58"/>
                    <a:pt x="48" y="58"/>
                  </a:cubicBezTo>
                  <a:cubicBezTo>
                    <a:pt x="45" y="57"/>
                    <a:pt x="43" y="53"/>
                    <a:pt x="44" y="50"/>
                  </a:cubicBezTo>
                  <a:cubicBezTo>
                    <a:pt x="45" y="44"/>
                    <a:pt x="52" y="35"/>
                    <a:pt x="67" y="35"/>
                  </a:cubicBezTo>
                  <a:cubicBezTo>
                    <a:pt x="83" y="35"/>
                    <a:pt x="104" y="62"/>
                    <a:pt x="110" y="70"/>
                  </a:cubicBezTo>
                  <a:cubicBezTo>
                    <a:pt x="112" y="73"/>
                    <a:pt x="111" y="78"/>
                    <a:pt x="108" y="80"/>
                  </a:cubicBezTo>
                  <a:cubicBezTo>
                    <a:pt x="104" y="83"/>
                    <a:pt x="100" y="82"/>
                    <a:pt x="98" y="79"/>
                  </a:cubicBezTo>
                  <a:cubicBezTo>
                    <a:pt x="88" y="65"/>
                    <a:pt x="73" y="50"/>
                    <a:pt x="67" y="50"/>
                  </a:cubicBezTo>
                  <a:cubicBezTo>
                    <a:pt x="64" y="50"/>
                    <a:pt x="63" y="50"/>
                    <a:pt x="61" y="51"/>
                  </a:cubicBezTo>
                  <a:cubicBezTo>
                    <a:pt x="63" y="53"/>
                    <a:pt x="66" y="57"/>
                    <a:pt x="67" y="61"/>
                  </a:cubicBezTo>
                  <a:cubicBezTo>
                    <a:pt x="69" y="69"/>
                    <a:pt x="67" y="78"/>
                    <a:pt x="61" y="88"/>
                  </a:cubicBezTo>
                  <a:cubicBezTo>
                    <a:pt x="46" y="112"/>
                    <a:pt x="32" y="113"/>
                    <a:pt x="28" y="113"/>
                  </a:cubicBezTo>
                  <a:lnTo>
                    <a:pt x="18" y="113"/>
                  </a:lnTo>
                  <a:cubicBezTo>
                    <a:pt x="17" y="121"/>
                    <a:pt x="19" y="132"/>
                    <a:pt x="23" y="137"/>
                  </a:cubicBezTo>
                  <a:cubicBezTo>
                    <a:pt x="32" y="145"/>
                    <a:pt x="71" y="176"/>
                    <a:pt x="90" y="191"/>
                  </a:cubicBezTo>
                  <a:cubicBezTo>
                    <a:pt x="92" y="192"/>
                    <a:pt x="93" y="195"/>
                    <a:pt x="93" y="197"/>
                  </a:cubicBezTo>
                  <a:lnTo>
                    <a:pt x="94" y="233"/>
                  </a:lnTo>
                  <a:lnTo>
                    <a:pt x="109" y="233"/>
                  </a:lnTo>
                  <a:lnTo>
                    <a:pt x="124" y="209"/>
                  </a:lnTo>
                  <a:cubicBezTo>
                    <a:pt x="126" y="206"/>
                    <a:pt x="130" y="205"/>
                    <a:pt x="133" y="207"/>
                  </a:cubicBezTo>
                  <a:cubicBezTo>
                    <a:pt x="165" y="220"/>
                    <a:pt x="215" y="209"/>
                    <a:pt x="215" y="209"/>
                  </a:cubicBezTo>
                  <a:cubicBezTo>
                    <a:pt x="219" y="208"/>
                    <a:pt x="222" y="210"/>
                    <a:pt x="223" y="213"/>
                  </a:cubicBezTo>
                  <a:lnTo>
                    <a:pt x="232" y="233"/>
                  </a:lnTo>
                  <a:lnTo>
                    <a:pt x="250" y="233"/>
                  </a:lnTo>
                  <a:lnTo>
                    <a:pt x="250" y="193"/>
                  </a:lnTo>
                  <a:cubicBezTo>
                    <a:pt x="250" y="191"/>
                    <a:pt x="251" y="189"/>
                    <a:pt x="252" y="188"/>
                  </a:cubicBezTo>
                  <a:cubicBezTo>
                    <a:pt x="254" y="186"/>
                    <a:pt x="297" y="143"/>
                    <a:pt x="267" y="90"/>
                  </a:cubicBezTo>
                  <a:cubicBezTo>
                    <a:pt x="226" y="18"/>
                    <a:pt x="125" y="62"/>
                    <a:pt x="121" y="64"/>
                  </a:cubicBezTo>
                  <a:cubicBezTo>
                    <a:pt x="117" y="65"/>
                    <a:pt x="113" y="64"/>
                    <a:pt x="111" y="60"/>
                  </a:cubicBezTo>
                  <a:cubicBezTo>
                    <a:pt x="110" y="56"/>
                    <a:pt x="111" y="52"/>
                    <a:pt x="115" y="50"/>
                  </a:cubicBezTo>
                  <a:cubicBezTo>
                    <a:pt x="116" y="50"/>
                    <a:pt x="232" y="0"/>
                    <a:pt x="280" y="83"/>
                  </a:cubicBezTo>
                  <a:cubicBezTo>
                    <a:pt x="311" y="138"/>
                    <a:pt x="274" y="185"/>
                    <a:pt x="264" y="196"/>
                  </a:cubicBezTo>
                  <a:lnTo>
                    <a:pt x="264" y="240"/>
                  </a:lnTo>
                  <a:cubicBezTo>
                    <a:pt x="264" y="244"/>
                    <a:pt x="261" y="247"/>
                    <a:pt x="257" y="247"/>
                  </a:cubicBezTo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D8DD19FA-9294-9A94-8526-89D5BC5EBDEC}"/>
              </a:ext>
            </a:extLst>
          </p:cNvPr>
          <p:cNvGrpSpPr/>
          <p:nvPr/>
        </p:nvGrpSpPr>
        <p:grpSpPr>
          <a:xfrm>
            <a:off x="952100" y="2629793"/>
            <a:ext cx="1741000" cy="2077209"/>
            <a:chOff x="1324128" y="2655642"/>
            <a:chExt cx="652752" cy="778807"/>
          </a:xfrm>
        </p:grpSpPr>
        <p:sp>
          <p:nvSpPr>
            <p:cNvPr id="87" name="Freeform 61">
              <a:extLst>
                <a:ext uri="{FF2B5EF4-FFF2-40B4-BE49-F238E27FC236}">
                  <a16:creationId xmlns:a16="http://schemas.microsoft.com/office/drawing/2014/main" id="{76EAB2FE-F8B5-BCB4-355B-94CDBF572E01}"/>
                </a:ext>
              </a:extLst>
            </p:cNvPr>
            <p:cNvSpPr>
              <a:spLocks/>
            </p:cNvSpPr>
            <p:nvPr/>
          </p:nvSpPr>
          <p:spPr bwMode="auto">
            <a:xfrm rot="20677250">
              <a:off x="1324128" y="2765309"/>
              <a:ext cx="652752" cy="669140"/>
            </a:xfrm>
            <a:custGeom>
              <a:avLst/>
              <a:gdLst>
                <a:gd name="T0" fmla="*/ 1817 w 2250"/>
                <a:gd name="T1" fmla="*/ 2293 h 2293"/>
                <a:gd name="T2" fmla="*/ 1806 w 2250"/>
                <a:gd name="T3" fmla="*/ 2292 h 2293"/>
                <a:gd name="T4" fmla="*/ 32 w 2250"/>
                <a:gd name="T5" fmla="*/ 1813 h 2293"/>
                <a:gd name="T6" fmla="*/ 6 w 2250"/>
                <a:gd name="T7" fmla="*/ 1793 h 2293"/>
                <a:gd name="T8" fmla="*/ 3 w 2250"/>
                <a:gd name="T9" fmla="*/ 1760 h 2293"/>
                <a:gd name="T10" fmla="*/ 575 w 2250"/>
                <a:gd name="T11" fmla="*/ 33 h 2293"/>
                <a:gd name="T12" fmla="*/ 626 w 2250"/>
                <a:gd name="T13" fmla="*/ 6 h 2293"/>
                <a:gd name="T14" fmla="*/ 2216 w 2250"/>
                <a:gd name="T15" fmla="*/ 434 h 2293"/>
                <a:gd name="T16" fmla="*/ 2245 w 2250"/>
                <a:gd name="T17" fmla="*/ 483 h 2293"/>
                <a:gd name="T18" fmla="*/ 2201 w 2250"/>
                <a:gd name="T19" fmla="*/ 687 h 2293"/>
                <a:gd name="T20" fmla="*/ 2151 w 2250"/>
                <a:gd name="T21" fmla="*/ 719 h 2293"/>
                <a:gd name="T22" fmla="*/ 2120 w 2250"/>
                <a:gd name="T23" fmla="*/ 669 h 2293"/>
                <a:gd name="T24" fmla="*/ 2156 w 2250"/>
                <a:gd name="T25" fmla="*/ 504 h 2293"/>
                <a:gd name="T26" fmla="*/ 642 w 2250"/>
                <a:gd name="T27" fmla="*/ 96 h 2293"/>
                <a:gd name="T28" fmla="*/ 96 w 2250"/>
                <a:gd name="T29" fmla="*/ 1744 h 2293"/>
                <a:gd name="T30" fmla="*/ 1786 w 2250"/>
                <a:gd name="T31" fmla="*/ 2200 h 2293"/>
                <a:gd name="T32" fmla="*/ 2076 w 2250"/>
                <a:gd name="T33" fmla="*/ 871 h 2293"/>
                <a:gd name="T34" fmla="*/ 2125 w 2250"/>
                <a:gd name="T35" fmla="*/ 839 h 2293"/>
                <a:gd name="T36" fmla="*/ 2157 w 2250"/>
                <a:gd name="T37" fmla="*/ 888 h 2293"/>
                <a:gd name="T38" fmla="*/ 1858 w 2250"/>
                <a:gd name="T39" fmla="*/ 2260 h 2293"/>
                <a:gd name="T40" fmla="*/ 1839 w 2250"/>
                <a:gd name="T41" fmla="*/ 2287 h 2293"/>
                <a:gd name="T42" fmla="*/ 1817 w 2250"/>
                <a:gd name="T43" fmla="*/ 2293 h 2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50" h="2293">
                  <a:moveTo>
                    <a:pt x="1817" y="2293"/>
                  </a:moveTo>
                  <a:cubicBezTo>
                    <a:pt x="1813" y="2293"/>
                    <a:pt x="1810" y="2293"/>
                    <a:pt x="1806" y="2292"/>
                  </a:cubicBezTo>
                  <a:lnTo>
                    <a:pt x="32" y="1813"/>
                  </a:lnTo>
                  <a:cubicBezTo>
                    <a:pt x="21" y="1810"/>
                    <a:pt x="11" y="1803"/>
                    <a:pt x="6" y="1793"/>
                  </a:cubicBezTo>
                  <a:cubicBezTo>
                    <a:pt x="1" y="1783"/>
                    <a:pt x="0" y="1771"/>
                    <a:pt x="3" y="1760"/>
                  </a:cubicBezTo>
                  <a:lnTo>
                    <a:pt x="575" y="33"/>
                  </a:lnTo>
                  <a:cubicBezTo>
                    <a:pt x="582" y="12"/>
                    <a:pt x="605" y="0"/>
                    <a:pt x="626" y="6"/>
                  </a:cubicBezTo>
                  <a:lnTo>
                    <a:pt x="2216" y="434"/>
                  </a:lnTo>
                  <a:cubicBezTo>
                    <a:pt x="2237" y="440"/>
                    <a:pt x="2250" y="462"/>
                    <a:pt x="2245" y="483"/>
                  </a:cubicBezTo>
                  <a:lnTo>
                    <a:pt x="2201" y="687"/>
                  </a:lnTo>
                  <a:cubicBezTo>
                    <a:pt x="2196" y="710"/>
                    <a:pt x="2174" y="724"/>
                    <a:pt x="2151" y="719"/>
                  </a:cubicBezTo>
                  <a:cubicBezTo>
                    <a:pt x="2129" y="714"/>
                    <a:pt x="2115" y="692"/>
                    <a:pt x="2120" y="669"/>
                  </a:cubicBezTo>
                  <a:lnTo>
                    <a:pt x="2156" y="504"/>
                  </a:lnTo>
                  <a:lnTo>
                    <a:pt x="642" y="96"/>
                  </a:lnTo>
                  <a:lnTo>
                    <a:pt x="96" y="1744"/>
                  </a:lnTo>
                  <a:lnTo>
                    <a:pt x="1786" y="2200"/>
                  </a:lnTo>
                  <a:lnTo>
                    <a:pt x="2076" y="871"/>
                  </a:lnTo>
                  <a:cubicBezTo>
                    <a:pt x="2080" y="848"/>
                    <a:pt x="2103" y="834"/>
                    <a:pt x="2125" y="839"/>
                  </a:cubicBezTo>
                  <a:cubicBezTo>
                    <a:pt x="2148" y="844"/>
                    <a:pt x="2162" y="866"/>
                    <a:pt x="2157" y="888"/>
                  </a:cubicBezTo>
                  <a:lnTo>
                    <a:pt x="1858" y="2260"/>
                  </a:lnTo>
                  <a:cubicBezTo>
                    <a:pt x="1855" y="2272"/>
                    <a:pt x="1848" y="2281"/>
                    <a:pt x="1839" y="2287"/>
                  </a:cubicBezTo>
                  <a:cubicBezTo>
                    <a:pt x="1832" y="2291"/>
                    <a:pt x="1825" y="2293"/>
                    <a:pt x="1817" y="2293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91" name="Freeform 65">
              <a:extLst>
                <a:ext uri="{FF2B5EF4-FFF2-40B4-BE49-F238E27FC236}">
                  <a16:creationId xmlns:a16="http://schemas.microsoft.com/office/drawing/2014/main" id="{1777B8E7-3A97-C17E-8435-69D36D08B25C}"/>
                </a:ext>
              </a:extLst>
            </p:cNvPr>
            <p:cNvSpPr>
              <a:spLocks/>
            </p:cNvSpPr>
            <p:nvPr/>
          </p:nvSpPr>
          <p:spPr bwMode="auto">
            <a:xfrm rot="20677250">
              <a:off x="1505953" y="2655642"/>
              <a:ext cx="325011" cy="215764"/>
            </a:xfrm>
            <a:custGeom>
              <a:avLst/>
              <a:gdLst>
                <a:gd name="T0" fmla="*/ 1023 w 1119"/>
                <a:gd name="T1" fmla="*/ 741 h 741"/>
                <a:gd name="T2" fmla="*/ 1015 w 1119"/>
                <a:gd name="T3" fmla="*/ 741 h 741"/>
                <a:gd name="T4" fmla="*/ 982 w 1119"/>
                <a:gd name="T5" fmla="*/ 692 h 741"/>
                <a:gd name="T6" fmla="*/ 650 w 1119"/>
                <a:gd name="T7" fmla="*/ 158 h 741"/>
                <a:gd name="T8" fmla="*/ 86 w 1119"/>
                <a:gd name="T9" fmla="*/ 478 h 741"/>
                <a:gd name="T10" fmla="*/ 35 w 1119"/>
                <a:gd name="T11" fmla="*/ 507 h 741"/>
                <a:gd name="T12" fmla="*/ 6 w 1119"/>
                <a:gd name="T13" fmla="*/ 456 h 741"/>
                <a:gd name="T14" fmla="*/ 672 w 1119"/>
                <a:gd name="T15" fmla="*/ 77 h 741"/>
                <a:gd name="T16" fmla="*/ 1064 w 1119"/>
                <a:gd name="T17" fmla="*/ 708 h 741"/>
                <a:gd name="T18" fmla="*/ 1023 w 1119"/>
                <a:gd name="T19" fmla="*/ 741 h 7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19" h="741">
                  <a:moveTo>
                    <a:pt x="1023" y="741"/>
                  </a:moveTo>
                  <a:cubicBezTo>
                    <a:pt x="1021" y="741"/>
                    <a:pt x="1018" y="741"/>
                    <a:pt x="1015" y="741"/>
                  </a:cubicBezTo>
                  <a:cubicBezTo>
                    <a:pt x="993" y="736"/>
                    <a:pt x="978" y="714"/>
                    <a:pt x="982" y="692"/>
                  </a:cubicBezTo>
                  <a:cubicBezTo>
                    <a:pt x="1029" y="455"/>
                    <a:pt x="883" y="221"/>
                    <a:pt x="650" y="158"/>
                  </a:cubicBezTo>
                  <a:cubicBezTo>
                    <a:pt x="407" y="92"/>
                    <a:pt x="154" y="236"/>
                    <a:pt x="86" y="478"/>
                  </a:cubicBezTo>
                  <a:cubicBezTo>
                    <a:pt x="80" y="501"/>
                    <a:pt x="57" y="514"/>
                    <a:pt x="35" y="507"/>
                  </a:cubicBezTo>
                  <a:cubicBezTo>
                    <a:pt x="13" y="501"/>
                    <a:pt x="0" y="478"/>
                    <a:pt x="6" y="456"/>
                  </a:cubicBezTo>
                  <a:cubicBezTo>
                    <a:pt x="86" y="170"/>
                    <a:pt x="385" y="0"/>
                    <a:pt x="672" y="77"/>
                  </a:cubicBezTo>
                  <a:cubicBezTo>
                    <a:pt x="947" y="152"/>
                    <a:pt x="1119" y="428"/>
                    <a:pt x="1064" y="708"/>
                  </a:cubicBezTo>
                  <a:cubicBezTo>
                    <a:pt x="1060" y="728"/>
                    <a:pt x="1043" y="741"/>
                    <a:pt x="1023" y="741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92" name="Freeform 66">
              <a:extLst>
                <a:ext uri="{FF2B5EF4-FFF2-40B4-BE49-F238E27FC236}">
                  <a16:creationId xmlns:a16="http://schemas.microsoft.com/office/drawing/2014/main" id="{A93BF74A-DDE4-AC0C-F494-0EB5D55ED926}"/>
                </a:ext>
              </a:extLst>
            </p:cNvPr>
            <p:cNvSpPr>
              <a:spLocks noEditPoints="1"/>
            </p:cNvSpPr>
            <p:nvPr/>
          </p:nvSpPr>
          <p:spPr bwMode="auto">
            <a:xfrm rot="20677250">
              <a:off x="1506884" y="2877963"/>
              <a:ext cx="65548" cy="60086"/>
            </a:xfrm>
            <a:custGeom>
              <a:avLst/>
              <a:gdLst>
                <a:gd name="T0" fmla="*/ 115 w 229"/>
                <a:gd name="T1" fmla="*/ 83 h 206"/>
                <a:gd name="T2" fmla="*/ 96 w 229"/>
                <a:gd name="T3" fmla="*/ 98 h 206"/>
                <a:gd name="T4" fmla="*/ 110 w 229"/>
                <a:gd name="T5" fmla="*/ 122 h 206"/>
                <a:gd name="T6" fmla="*/ 134 w 229"/>
                <a:gd name="T7" fmla="*/ 108 h 206"/>
                <a:gd name="T8" fmla="*/ 120 w 229"/>
                <a:gd name="T9" fmla="*/ 84 h 206"/>
                <a:gd name="T10" fmla="*/ 115 w 229"/>
                <a:gd name="T11" fmla="*/ 83 h 206"/>
                <a:gd name="T12" fmla="*/ 115 w 229"/>
                <a:gd name="T13" fmla="*/ 206 h 206"/>
                <a:gd name="T14" fmla="*/ 88 w 229"/>
                <a:gd name="T15" fmla="*/ 203 h 206"/>
                <a:gd name="T16" fmla="*/ 15 w 229"/>
                <a:gd name="T17" fmla="*/ 76 h 206"/>
                <a:gd name="T18" fmla="*/ 115 w 229"/>
                <a:gd name="T19" fmla="*/ 0 h 206"/>
                <a:gd name="T20" fmla="*/ 142 w 229"/>
                <a:gd name="T21" fmla="*/ 3 h 206"/>
                <a:gd name="T22" fmla="*/ 214 w 229"/>
                <a:gd name="T23" fmla="*/ 130 h 206"/>
                <a:gd name="T24" fmla="*/ 115 w 229"/>
                <a:gd name="T25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9" h="206">
                  <a:moveTo>
                    <a:pt x="115" y="83"/>
                  </a:moveTo>
                  <a:cubicBezTo>
                    <a:pt x="106" y="83"/>
                    <a:pt x="98" y="89"/>
                    <a:pt x="96" y="98"/>
                  </a:cubicBezTo>
                  <a:cubicBezTo>
                    <a:pt x="93" y="109"/>
                    <a:pt x="99" y="120"/>
                    <a:pt x="110" y="122"/>
                  </a:cubicBezTo>
                  <a:cubicBezTo>
                    <a:pt x="120" y="125"/>
                    <a:pt x="131" y="119"/>
                    <a:pt x="134" y="108"/>
                  </a:cubicBezTo>
                  <a:cubicBezTo>
                    <a:pt x="137" y="98"/>
                    <a:pt x="131" y="87"/>
                    <a:pt x="120" y="84"/>
                  </a:cubicBezTo>
                  <a:cubicBezTo>
                    <a:pt x="118" y="83"/>
                    <a:pt x="116" y="83"/>
                    <a:pt x="115" y="83"/>
                  </a:cubicBezTo>
                  <a:close/>
                  <a:moveTo>
                    <a:pt x="115" y="206"/>
                  </a:moveTo>
                  <a:cubicBezTo>
                    <a:pt x="106" y="206"/>
                    <a:pt x="97" y="205"/>
                    <a:pt x="88" y="203"/>
                  </a:cubicBezTo>
                  <a:cubicBezTo>
                    <a:pt x="33" y="188"/>
                    <a:pt x="0" y="131"/>
                    <a:pt x="15" y="76"/>
                  </a:cubicBezTo>
                  <a:cubicBezTo>
                    <a:pt x="27" y="31"/>
                    <a:pt x="68" y="0"/>
                    <a:pt x="115" y="0"/>
                  </a:cubicBezTo>
                  <a:cubicBezTo>
                    <a:pt x="124" y="0"/>
                    <a:pt x="133" y="1"/>
                    <a:pt x="142" y="3"/>
                  </a:cubicBezTo>
                  <a:cubicBezTo>
                    <a:pt x="197" y="18"/>
                    <a:pt x="229" y="75"/>
                    <a:pt x="214" y="130"/>
                  </a:cubicBezTo>
                  <a:cubicBezTo>
                    <a:pt x="202" y="175"/>
                    <a:pt x="161" y="206"/>
                    <a:pt x="115" y="20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93" name="Freeform 67">
              <a:extLst>
                <a:ext uri="{FF2B5EF4-FFF2-40B4-BE49-F238E27FC236}">
                  <a16:creationId xmlns:a16="http://schemas.microsoft.com/office/drawing/2014/main" id="{E73B8623-16E4-C266-41DB-3ED3ACC92F88}"/>
                </a:ext>
              </a:extLst>
            </p:cNvPr>
            <p:cNvSpPr>
              <a:spLocks noEditPoints="1"/>
            </p:cNvSpPr>
            <p:nvPr/>
          </p:nvSpPr>
          <p:spPr bwMode="auto">
            <a:xfrm rot="20677250">
              <a:off x="1763906" y="2875250"/>
              <a:ext cx="65548" cy="60086"/>
            </a:xfrm>
            <a:custGeom>
              <a:avLst/>
              <a:gdLst>
                <a:gd name="T0" fmla="*/ 114 w 229"/>
                <a:gd name="T1" fmla="*/ 83 h 206"/>
                <a:gd name="T2" fmla="*/ 95 w 229"/>
                <a:gd name="T3" fmla="*/ 98 h 206"/>
                <a:gd name="T4" fmla="*/ 109 w 229"/>
                <a:gd name="T5" fmla="*/ 122 h 206"/>
                <a:gd name="T6" fmla="*/ 134 w 229"/>
                <a:gd name="T7" fmla="*/ 108 h 206"/>
                <a:gd name="T8" fmla="*/ 120 w 229"/>
                <a:gd name="T9" fmla="*/ 84 h 206"/>
                <a:gd name="T10" fmla="*/ 114 w 229"/>
                <a:gd name="T11" fmla="*/ 83 h 206"/>
                <a:gd name="T12" fmla="*/ 114 w 229"/>
                <a:gd name="T13" fmla="*/ 206 h 206"/>
                <a:gd name="T14" fmla="*/ 88 w 229"/>
                <a:gd name="T15" fmla="*/ 202 h 206"/>
                <a:gd name="T16" fmla="*/ 15 w 229"/>
                <a:gd name="T17" fmla="*/ 76 h 206"/>
                <a:gd name="T18" fmla="*/ 114 w 229"/>
                <a:gd name="T19" fmla="*/ 0 h 206"/>
                <a:gd name="T20" fmla="*/ 141 w 229"/>
                <a:gd name="T21" fmla="*/ 3 h 206"/>
                <a:gd name="T22" fmla="*/ 214 w 229"/>
                <a:gd name="T23" fmla="*/ 130 h 206"/>
                <a:gd name="T24" fmla="*/ 114 w 229"/>
                <a:gd name="T25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9" h="206">
                  <a:moveTo>
                    <a:pt x="114" y="83"/>
                  </a:moveTo>
                  <a:cubicBezTo>
                    <a:pt x="105" y="83"/>
                    <a:pt x="97" y="89"/>
                    <a:pt x="95" y="98"/>
                  </a:cubicBezTo>
                  <a:cubicBezTo>
                    <a:pt x="92" y="108"/>
                    <a:pt x="99" y="119"/>
                    <a:pt x="109" y="122"/>
                  </a:cubicBezTo>
                  <a:cubicBezTo>
                    <a:pt x="120" y="125"/>
                    <a:pt x="131" y="118"/>
                    <a:pt x="134" y="108"/>
                  </a:cubicBezTo>
                  <a:cubicBezTo>
                    <a:pt x="136" y="97"/>
                    <a:pt x="130" y="86"/>
                    <a:pt x="120" y="84"/>
                  </a:cubicBezTo>
                  <a:cubicBezTo>
                    <a:pt x="118" y="83"/>
                    <a:pt x="116" y="83"/>
                    <a:pt x="114" y="83"/>
                  </a:cubicBezTo>
                  <a:close/>
                  <a:moveTo>
                    <a:pt x="114" y="206"/>
                  </a:moveTo>
                  <a:cubicBezTo>
                    <a:pt x="105" y="206"/>
                    <a:pt x="96" y="205"/>
                    <a:pt x="88" y="202"/>
                  </a:cubicBezTo>
                  <a:cubicBezTo>
                    <a:pt x="33" y="188"/>
                    <a:pt x="0" y="131"/>
                    <a:pt x="15" y="76"/>
                  </a:cubicBezTo>
                  <a:cubicBezTo>
                    <a:pt x="27" y="31"/>
                    <a:pt x="68" y="0"/>
                    <a:pt x="114" y="0"/>
                  </a:cubicBezTo>
                  <a:cubicBezTo>
                    <a:pt x="123" y="0"/>
                    <a:pt x="132" y="1"/>
                    <a:pt x="141" y="3"/>
                  </a:cubicBezTo>
                  <a:cubicBezTo>
                    <a:pt x="196" y="18"/>
                    <a:pt x="229" y="75"/>
                    <a:pt x="214" y="130"/>
                  </a:cubicBezTo>
                  <a:cubicBezTo>
                    <a:pt x="202" y="175"/>
                    <a:pt x="161" y="206"/>
                    <a:pt x="114" y="206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94" name="Freeform 68">
              <a:extLst>
                <a:ext uri="{FF2B5EF4-FFF2-40B4-BE49-F238E27FC236}">
                  <a16:creationId xmlns:a16="http://schemas.microsoft.com/office/drawing/2014/main" id="{DD758AEF-8E01-57A4-2AAB-09DCF66D7084}"/>
                </a:ext>
              </a:extLst>
            </p:cNvPr>
            <p:cNvSpPr>
              <a:spLocks/>
            </p:cNvSpPr>
            <p:nvPr/>
          </p:nvSpPr>
          <p:spPr bwMode="auto">
            <a:xfrm rot="20677250">
              <a:off x="1532927" y="2859857"/>
              <a:ext cx="273118" cy="92860"/>
            </a:xfrm>
            <a:custGeom>
              <a:avLst/>
              <a:gdLst>
                <a:gd name="T0" fmla="*/ 899 w 945"/>
                <a:gd name="T1" fmla="*/ 318 h 318"/>
                <a:gd name="T2" fmla="*/ 888 w 945"/>
                <a:gd name="T3" fmla="*/ 316 h 318"/>
                <a:gd name="T4" fmla="*/ 35 w 945"/>
                <a:gd name="T5" fmla="*/ 86 h 318"/>
                <a:gd name="T6" fmla="*/ 6 w 945"/>
                <a:gd name="T7" fmla="*/ 35 h 318"/>
                <a:gd name="T8" fmla="*/ 57 w 945"/>
                <a:gd name="T9" fmla="*/ 6 h 318"/>
                <a:gd name="T10" fmla="*/ 910 w 945"/>
                <a:gd name="T11" fmla="*/ 236 h 318"/>
                <a:gd name="T12" fmla="*/ 939 w 945"/>
                <a:gd name="T13" fmla="*/ 287 h 318"/>
                <a:gd name="T14" fmla="*/ 899 w 945"/>
                <a:gd name="T15" fmla="*/ 318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5" h="318">
                  <a:moveTo>
                    <a:pt x="899" y="318"/>
                  </a:moveTo>
                  <a:cubicBezTo>
                    <a:pt x="895" y="318"/>
                    <a:pt x="892" y="317"/>
                    <a:pt x="888" y="316"/>
                  </a:cubicBezTo>
                  <a:lnTo>
                    <a:pt x="35" y="86"/>
                  </a:lnTo>
                  <a:cubicBezTo>
                    <a:pt x="13" y="80"/>
                    <a:pt x="0" y="57"/>
                    <a:pt x="6" y="35"/>
                  </a:cubicBezTo>
                  <a:cubicBezTo>
                    <a:pt x="12" y="13"/>
                    <a:pt x="35" y="0"/>
                    <a:pt x="57" y="6"/>
                  </a:cubicBezTo>
                  <a:lnTo>
                    <a:pt x="910" y="236"/>
                  </a:lnTo>
                  <a:cubicBezTo>
                    <a:pt x="932" y="242"/>
                    <a:pt x="945" y="264"/>
                    <a:pt x="939" y="287"/>
                  </a:cubicBezTo>
                  <a:cubicBezTo>
                    <a:pt x="934" y="305"/>
                    <a:pt x="917" y="318"/>
                    <a:pt x="899" y="31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pic>
        <p:nvPicPr>
          <p:cNvPr id="9" name="Graphic 8" descr="Tie outline">
            <a:extLst>
              <a:ext uri="{FF2B5EF4-FFF2-40B4-BE49-F238E27FC236}">
                <a16:creationId xmlns:a16="http://schemas.microsoft.com/office/drawing/2014/main" id="{86F6CA03-5DB5-D253-8F54-AEE1AD798D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03611" y="3508999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85382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07E7BFA-DF66-0CD3-28F7-6115471A20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Incentive details</a:t>
            </a:r>
          </a:p>
        </p:txBody>
      </p:sp>
    </p:spTree>
    <p:extLst>
      <p:ext uri="{BB962C8B-B14F-4D97-AF65-F5344CB8AC3E}">
        <p14:creationId xmlns:p14="http://schemas.microsoft.com/office/powerpoint/2010/main" val="9735518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9081A5-A478-D145-2BB2-8DA6D49160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dvertising mai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0C2CC5-6B8B-4F49-91A8-3BFFC1AB142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Test and Innovate Incentive for new Summer Promot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6ED6C1-6995-E670-A13A-3E275662EE5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7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7A2CEDF-07DA-3439-7D0F-EE260BAD52F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Full terms and conditions apply</a:t>
            </a:r>
          </a:p>
          <a:p>
            <a:endParaRPr lang="en-GB" dirty="0"/>
          </a:p>
        </p:txBody>
      </p:sp>
      <p:sp>
        <p:nvSpPr>
          <p:cNvPr id="7" name="Circle: Hollow 6">
            <a:extLst>
              <a:ext uri="{FF2B5EF4-FFF2-40B4-BE49-F238E27FC236}">
                <a16:creationId xmlns:a16="http://schemas.microsoft.com/office/drawing/2014/main" id="{3E5C96EB-98A9-757B-21B1-6B4C28257C4C}"/>
              </a:ext>
            </a:extLst>
          </p:cNvPr>
          <p:cNvSpPr/>
          <p:nvPr/>
        </p:nvSpPr>
        <p:spPr>
          <a:xfrm>
            <a:off x="1126724" y="2079037"/>
            <a:ext cx="2098040" cy="2098040"/>
          </a:xfrm>
          <a:prstGeom prst="donut">
            <a:avLst>
              <a:gd name="adj" fmla="val 803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Circle: Hollow 7">
            <a:extLst>
              <a:ext uri="{FF2B5EF4-FFF2-40B4-BE49-F238E27FC236}">
                <a16:creationId xmlns:a16="http://schemas.microsoft.com/office/drawing/2014/main" id="{CBA43C0C-E778-2EB7-4510-D4FD95BBB795}"/>
              </a:ext>
            </a:extLst>
          </p:cNvPr>
          <p:cNvSpPr/>
          <p:nvPr/>
        </p:nvSpPr>
        <p:spPr>
          <a:xfrm>
            <a:off x="3762477" y="2079037"/>
            <a:ext cx="2098040" cy="2098040"/>
          </a:xfrm>
          <a:prstGeom prst="donut">
            <a:avLst>
              <a:gd name="adj" fmla="val 78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Circle: Hollow 8">
            <a:extLst>
              <a:ext uri="{FF2B5EF4-FFF2-40B4-BE49-F238E27FC236}">
                <a16:creationId xmlns:a16="http://schemas.microsoft.com/office/drawing/2014/main" id="{7D6E6F22-FACC-22F9-62FC-66ADD6AF5E21}"/>
              </a:ext>
            </a:extLst>
          </p:cNvPr>
          <p:cNvSpPr/>
          <p:nvPr/>
        </p:nvSpPr>
        <p:spPr>
          <a:xfrm>
            <a:off x="6474460" y="2079037"/>
            <a:ext cx="2098040" cy="2098040"/>
          </a:xfrm>
          <a:prstGeom prst="donut">
            <a:avLst>
              <a:gd name="adj" fmla="val 880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Circle: Hollow 9">
            <a:extLst>
              <a:ext uri="{FF2B5EF4-FFF2-40B4-BE49-F238E27FC236}">
                <a16:creationId xmlns:a16="http://schemas.microsoft.com/office/drawing/2014/main" id="{B5F18B86-CE0A-F49E-64A2-DCB7478CC403}"/>
              </a:ext>
            </a:extLst>
          </p:cNvPr>
          <p:cNvSpPr/>
          <p:nvPr/>
        </p:nvSpPr>
        <p:spPr>
          <a:xfrm>
            <a:off x="8990722" y="2079037"/>
            <a:ext cx="2098040" cy="2098040"/>
          </a:xfrm>
          <a:prstGeom prst="donut">
            <a:avLst>
              <a:gd name="adj" fmla="val 9339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2D29DB7-E512-601B-D44F-DD945F573F68}"/>
              </a:ext>
            </a:extLst>
          </p:cNvPr>
          <p:cNvSpPr/>
          <p:nvPr/>
        </p:nvSpPr>
        <p:spPr>
          <a:xfrm>
            <a:off x="-1" y="4020072"/>
            <a:ext cx="3399367" cy="15036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65A1DA8-158E-260C-896F-C5BAEBBADAD9}"/>
              </a:ext>
            </a:extLst>
          </p:cNvPr>
          <p:cNvSpPr/>
          <p:nvPr/>
        </p:nvSpPr>
        <p:spPr>
          <a:xfrm>
            <a:off x="8784166" y="4020072"/>
            <a:ext cx="3399367" cy="15036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234A9FA-2B94-4F51-D6A6-FFC88528DD98}"/>
              </a:ext>
            </a:extLst>
          </p:cNvPr>
          <p:cNvSpPr/>
          <p:nvPr/>
        </p:nvSpPr>
        <p:spPr>
          <a:xfrm>
            <a:off x="3399367" y="4020072"/>
            <a:ext cx="2696634" cy="1503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8F97C44-961B-DAF2-F03C-837B1C19D11D}"/>
              </a:ext>
            </a:extLst>
          </p:cNvPr>
          <p:cNvSpPr/>
          <p:nvPr/>
        </p:nvSpPr>
        <p:spPr>
          <a:xfrm>
            <a:off x="6096000" y="4020072"/>
            <a:ext cx="2696634" cy="15036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5" name="Graphic 14" descr="Unlock">
            <a:extLst>
              <a:ext uri="{FF2B5EF4-FFF2-40B4-BE49-F238E27FC236}">
                <a16:creationId xmlns:a16="http://schemas.microsoft.com/office/drawing/2014/main" id="{74B49A3C-3885-E4E5-CE12-6B6ABDC44BB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066280" y="2640021"/>
            <a:ext cx="914400" cy="91440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BC338F08-D72A-36B4-E11A-68B299536989}"/>
              </a:ext>
            </a:extLst>
          </p:cNvPr>
          <p:cNvSpPr txBox="1"/>
          <p:nvPr/>
        </p:nvSpPr>
        <p:spPr>
          <a:xfrm>
            <a:off x="1240080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Noto Sans" panose="020B0502040504020204" pitchFamily="34"/>
                <a:cs typeface="Noto Sans" panose="020B0502040504020204" pitchFamily="34"/>
              </a:rPr>
              <a:t>WHO IS IT FOR?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F5175CC-5AD5-7C51-60E1-5508F51DCFA1}"/>
              </a:ext>
            </a:extLst>
          </p:cNvPr>
          <p:cNvSpPr txBox="1"/>
          <p:nvPr/>
        </p:nvSpPr>
        <p:spPr>
          <a:xfrm>
            <a:off x="3698519" y="4527638"/>
            <a:ext cx="2268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dirty="0">
                <a:solidFill>
                  <a:prstClr val="black"/>
                </a:solidFill>
              </a:rPr>
              <a:t>A postage credit of up to 20% is available on eligible Advertising Mail.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58D6E93-1C02-A633-3386-831105D32ACF}"/>
              </a:ext>
            </a:extLst>
          </p:cNvPr>
          <p:cNvSpPr txBox="1"/>
          <p:nvPr/>
        </p:nvSpPr>
        <p:spPr>
          <a:xfrm>
            <a:off x="3558573" y="4232560"/>
            <a:ext cx="25478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CREDIT</a:t>
            </a:r>
            <a:endParaRPr kumimoji="0" lang="en-GB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6DE204C-07B3-CE71-7321-AFF8C89516C4}"/>
              </a:ext>
            </a:extLst>
          </p:cNvPr>
          <p:cNvSpPr txBox="1"/>
          <p:nvPr/>
        </p:nvSpPr>
        <p:spPr>
          <a:xfrm>
            <a:off x="6413814" y="4516926"/>
            <a:ext cx="2268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The minimum volume is 100k* Letters or 50k Catalogues. The maximum volume is 1m items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B8E51F2-028E-7A40-0285-39A1650446F4}"/>
              </a:ext>
            </a:extLst>
          </p:cNvPr>
          <p:cNvSpPr txBox="1"/>
          <p:nvPr/>
        </p:nvSpPr>
        <p:spPr>
          <a:xfrm>
            <a:off x="6583179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TO QUALIFY</a:t>
            </a:r>
            <a:endParaRPr kumimoji="0" lang="en-GB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320E918-C534-C159-5EA1-BBA37997675E}"/>
              </a:ext>
            </a:extLst>
          </p:cNvPr>
          <p:cNvSpPr txBox="1"/>
          <p:nvPr/>
        </p:nvSpPr>
        <p:spPr>
          <a:xfrm>
            <a:off x="9093361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Noto Sans" panose="020B0502040504020204" pitchFamily="34"/>
                <a:cs typeface="Noto Sans" panose="020B0502040504020204" pitchFamily="34"/>
              </a:rPr>
              <a:t>TO APPLY</a:t>
            </a:r>
          </a:p>
        </p:txBody>
      </p:sp>
      <p:grpSp>
        <p:nvGrpSpPr>
          <p:cNvPr id="22" name="Targe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4A37AF3-7419-BBAE-12C5-ED667B83F558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603135" y="2552807"/>
            <a:ext cx="1161193" cy="1163810"/>
            <a:chOff x="20" y="21"/>
            <a:chExt cx="444" cy="445"/>
          </a:xfrm>
          <a:solidFill>
            <a:schemeClr val="tx1"/>
          </a:solidFill>
        </p:grpSpPr>
        <p:sp>
          <p:nvSpPr>
            <p:cNvPr id="23" name="Target">
              <a:extLst>
                <a:ext uri="{FF2B5EF4-FFF2-40B4-BE49-F238E27FC236}">
                  <a16:creationId xmlns:a16="http://schemas.microsoft.com/office/drawing/2014/main" id="{B342CF42-CD52-9DFE-A9AF-B339D3A53C9F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124" y="166"/>
              <a:ext cx="159" cy="196"/>
            </a:xfrm>
            <a:custGeom>
              <a:avLst/>
              <a:gdLst>
                <a:gd name="T0" fmla="*/ 159 w 422"/>
                <a:gd name="T1" fmla="*/ 217 h 522"/>
                <a:gd name="T2" fmla="*/ 212 w 422"/>
                <a:gd name="T3" fmla="*/ 223 h 522"/>
                <a:gd name="T4" fmla="*/ 179 w 422"/>
                <a:gd name="T5" fmla="*/ 5 h 522"/>
                <a:gd name="T6" fmla="*/ 167 w 422"/>
                <a:gd name="T7" fmla="*/ 0 h 522"/>
                <a:gd name="T8" fmla="*/ 0 w 422"/>
                <a:gd name="T9" fmla="*/ 179 h 522"/>
                <a:gd name="T10" fmla="*/ 54 w 422"/>
                <a:gd name="T11" fmla="*/ 194 h 522"/>
                <a:gd name="T12" fmla="*/ 411 w 422"/>
                <a:gd name="T13" fmla="*/ 481 h 522"/>
                <a:gd name="T14" fmla="*/ 411 w 422"/>
                <a:gd name="T15" fmla="*/ 464 h 522"/>
                <a:gd name="T16" fmla="*/ 159 w 422"/>
                <a:gd name="T17" fmla="*/ 217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2" h="522">
                  <a:moveTo>
                    <a:pt x="159" y="217"/>
                  </a:moveTo>
                  <a:cubicBezTo>
                    <a:pt x="159" y="217"/>
                    <a:pt x="194" y="230"/>
                    <a:pt x="212" y="223"/>
                  </a:cubicBezTo>
                  <a:cubicBezTo>
                    <a:pt x="192" y="126"/>
                    <a:pt x="179" y="5"/>
                    <a:pt x="179" y="5"/>
                  </a:cubicBezTo>
                  <a:lnTo>
                    <a:pt x="167" y="0"/>
                  </a:lnTo>
                  <a:cubicBezTo>
                    <a:pt x="167" y="0"/>
                    <a:pt x="23" y="67"/>
                    <a:pt x="0" y="179"/>
                  </a:cubicBezTo>
                  <a:cubicBezTo>
                    <a:pt x="21" y="191"/>
                    <a:pt x="54" y="194"/>
                    <a:pt x="54" y="194"/>
                  </a:cubicBezTo>
                  <a:cubicBezTo>
                    <a:pt x="60" y="349"/>
                    <a:pt x="106" y="522"/>
                    <a:pt x="411" y="481"/>
                  </a:cubicBezTo>
                  <a:cubicBezTo>
                    <a:pt x="422" y="481"/>
                    <a:pt x="411" y="464"/>
                    <a:pt x="411" y="464"/>
                  </a:cubicBezTo>
                  <a:cubicBezTo>
                    <a:pt x="207" y="469"/>
                    <a:pt x="154" y="279"/>
                    <a:pt x="159" y="2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Target">
              <a:extLst>
                <a:ext uri="{FF2B5EF4-FFF2-40B4-BE49-F238E27FC236}">
                  <a16:creationId xmlns:a16="http://schemas.microsoft.com/office/drawing/2014/main" id="{63464129-DC4A-D92F-A544-859E9D659D33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00" y="125"/>
              <a:ext cx="159" cy="196"/>
            </a:xfrm>
            <a:custGeom>
              <a:avLst/>
              <a:gdLst>
                <a:gd name="T0" fmla="*/ 12 w 423"/>
                <a:gd name="T1" fmla="*/ 41 h 522"/>
                <a:gd name="T2" fmla="*/ 12 w 423"/>
                <a:gd name="T3" fmla="*/ 58 h 522"/>
                <a:gd name="T4" fmla="*/ 263 w 423"/>
                <a:gd name="T5" fmla="*/ 305 h 522"/>
                <a:gd name="T6" fmla="*/ 211 w 423"/>
                <a:gd name="T7" fmla="*/ 299 h 522"/>
                <a:gd name="T8" fmla="*/ 243 w 423"/>
                <a:gd name="T9" fmla="*/ 517 h 522"/>
                <a:gd name="T10" fmla="*/ 256 w 423"/>
                <a:gd name="T11" fmla="*/ 522 h 522"/>
                <a:gd name="T12" fmla="*/ 423 w 423"/>
                <a:gd name="T13" fmla="*/ 343 h 522"/>
                <a:gd name="T14" fmla="*/ 369 w 423"/>
                <a:gd name="T15" fmla="*/ 328 h 522"/>
                <a:gd name="T16" fmla="*/ 12 w 423"/>
                <a:gd name="T17" fmla="*/ 41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3" h="522">
                  <a:moveTo>
                    <a:pt x="12" y="41"/>
                  </a:moveTo>
                  <a:cubicBezTo>
                    <a:pt x="0" y="41"/>
                    <a:pt x="12" y="58"/>
                    <a:pt x="12" y="58"/>
                  </a:cubicBezTo>
                  <a:cubicBezTo>
                    <a:pt x="215" y="53"/>
                    <a:pt x="269" y="243"/>
                    <a:pt x="263" y="305"/>
                  </a:cubicBezTo>
                  <a:cubicBezTo>
                    <a:pt x="263" y="305"/>
                    <a:pt x="229" y="292"/>
                    <a:pt x="211" y="299"/>
                  </a:cubicBezTo>
                  <a:cubicBezTo>
                    <a:pt x="231" y="396"/>
                    <a:pt x="243" y="517"/>
                    <a:pt x="243" y="517"/>
                  </a:cubicBezTo>
                  <a:lnTo>
                    <a:pt x="256" y="522"/>
                  </a:lnTo>
                  <a:cubicBezTo>
                    <a:pt x="256" y="522"/>
                    <a:pt x="400" y="455"/>
                    <a:pt x="423" y="343"/>
                  </a:cubicBezTo>
                  <a:cubicBezTo>
                    <a:pt x="402" y="331"/>
                    <a:pt x="369" y="328"/>
                    <a:pt x="369" y="328"/>
                  </a:cubicBezTo>
                  <a:cubicBezTo>
                    <a:pt x="363" y="173"/>
                    <a:pt x="317" y="0"/>
                    <a:pt x="12" y="4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Target">
              <a:extLst>
                <a:ext uri="{FF2B5EF4-FFF2-40B4-BE49-F238E27FC236}">
                  <a16:creationId xmlns:a16="http://schemas.microsoft.com/office/drawing/2014/main" id="{9C1282D8-4B92-BB64-31EA-12864C9B4145}"/>
                </a:ext>
              </a:extLst>
            </p:cNvPr>
            <p:cNvSpPr>
              <a:spLocks noEditPoints="1"/>
            </p:cNvSpPr>
            <p:nvPr>
              <p:custDataLst>
                <p:tags r:id="rId12"/>
              </p:custDataLst>
            </p:nvPr>
          </p:nvSpPr>
          <p:spPr bwMode="auto">
            <a:xfrm>
              <a:off x="20" y="21"/>
              <a:ext cx="444" cy="445"/>
            </a:xfrm>
            <a:custGeom>
              <a:avLst/>
              <a:gdLst>
                <a:gd name="T0" fmla="*/ 1157 w 1182"/>
                <a:gd name="T1" fmla="*/ 566 h 1181"/>
                <a:gd name="T2" fmla="*/ 1088 w 1182"/>
                <a:gd name="T3" fmla="*/ 566 h 1181"/>
                <a:gd name="T4" fmla="*/ 616 w 1182"/>
                <a:gd name="T5" fmla="*/ 94 h 1181"/>
                <a:gd name="T6" fmla="*/ 616 w 1182"/>
                <a:gd name="T7" fmla="*/ 25 h 1181"/>
                <a:gd name="T8" fmla="*/ 591 w 1182"/>
                <a:gd name="T9" fmla="*/ 0 h 1181"/>
                <a:gd name="T10" fmla="*/ 566 w 1182"/>
                <a:gd name="T11" fmla="*/ 25 h 1181"/>
                <a:gd name="T12" fmla="*/ 566 w 1182"/>
                <a:gd name="T13" fmla="*/ 94 h 1181"/>
                <a:gd name="T14" fmla="*/ 94 w 1182"/>
                <a:gd name="T15" fmla="*/ 566 h 1181"/>
                <a:gd name="T16" fmla="*/ 25 w 1182"/>
                <a:gd name="T17" fmla="*/ 566 h 1181"/>
                <a:gd name="T18" fmla="*/ 0 w 1182"/>
                <a:gd name="T19" fmla="*/ 591 h 1181"/>
                <a:gd name="T20" fmla="*/ 25 w 1182"/>
                <a:gd name="T21" fmla="*/ 616 h 1181"/>
                <a:gd name="T22" fmla="*/ 94 w 1182"/>
                <a:gd name="T23" fmla="*/ 616 h 1181"/>
                <a:gd name="T24" fmla="*/ 566 w 1182"/>
                <a:gd name="T25" fmla="*/ 1088 h 1181"/>
                <a:gd name="T26" fmla="*/ 566 w 1182"/>
                <a:gd name="T27" fmla="*/ 1156 h 1181"/>
                <a:gd name="T28" fmla="*/ 591 w 1182"/>
                <a:gd name="T29" fmla="*/ 1181 h 1181"/>
                <a:gd name="T30" fmla="*/ 616 w 1182"/>
                <a:gd name="T31" fmla="*/ 1156 h 1181"/>
                <a:gd name="T32" fmla="*/ 616 w 1182"/>
                <a:gd name="T33" fmla="*/ 1088 h 1181"/>
                <a:gd name="T34" fmla="*/ 1088 w 1182"/>
                <a:gd name="T35" fmla="*/ 616 h 1181"/>
                <a:gd name="T36" fmla="*/ 1157 w 1182"/>
                <a:gd name="T37" fmla="*/ 616 h 1181"/>
                <a:gd name="T38" fmla="*/ 1182 w 1182"/>
                <a:gd name="T39" fmla="*/ 591 h 1181"/>
                <a:gd name="T40" fmla="*/ 1157 w 1182"/>
                <a:gd name="T41" fmla="*/ 566 h 1181"/>
                <a:gd name="T42" fmla="*/ 616 w 1182"/>
                <a:gd name="T43" fmla="*/ 1037 h 1181"/>
                <a:gd name="T44" fmla="*/ 616 w 1182"/>
                <a:gd name="T45" fmla="*/ 1015 h 1181"/>
                <a:gd name="T46" fmla="*/ 591 w 1182"/>
                <a:gd name="T47" fmla="*/ 990 h 1181"/>
                <a:gd name="T48" fmla="*/ 566 w 1182"/>
                <a:gd name="T49" fmla="*/ 1015 h 1181"/>
                <a:gd name="T50" fmla="*/ 566 w 1182"/>
                <a:gd name="T51" fmla="*/ 1037 h 1181"/>
                <a:gd name="T52" fmla="*/ 144 w 1182"/>
                <a:gd name="T53" fmla="*/ 616 h 1181"/>
                <a:gd name="T54" fmla="*/ 166 w 1182"/>
                <a:gd name="T55" fmla="*/ 616 h 1181"/>
                <a:gd name="T56" fmla="*/ 191 w 1182"/>
                <a:gd name="T57" fmla="*/ 591 h 1181"/>
                <a:gd name="T58" fmla="*/ 166 w 1182"/>
                <a:gd name="T59" fmla="*/ 566 h 1181"/>
                <a:gd name="T60" fmla="*/ 144 w 1182"/>
                <a:gd name="T61" fmla="*/ 566 h 1181"/>
                <a:gd name="T62" fmla="*/ 566 w 1182"/>
                <a:gd name="T63" fmla="*/ 144 h 1181"/>
                <a:gd name="T64" fmla="*/ 566 w 1182"/>
                <a:gd name="T65" fmla="*/ 166 h 1181"/>
                <a:gd name="T66" fmla="*/ 591 w 1182"/>
                <a:gd name="T67" fmla="*/ 191 h 1181"/>
                <a:gd name="T68" fmla="*/ 616 w 1182"/>
                <a:gd name="T69" fmla="*/ 166 h 1181"/>
                <a:gd name="T70" fmla="*/ 616 w 1182"/>
                <a:gd name="T71" fmla="*/ 144 h 1181"/>
                <a:gd name="T72" fmla="*/ 1038 w 1182"/>
                <a:gd name="T73" fmla="*/ 566 h 1181"/>
                <a:gd name="T74" fmla="*/ 1016 w 1182"/>
                <a:gd name="T75" fmla="*/ 566 h 1181"/>
                <a:gd name="T76" fmla="*/ 991 w 1182"/>
                <a:gd name="T77" fmla="*/ 591 h 1181"/>
                <a:gd name="T78" fmla="*/ 1016 w 1182"/>
                <a:gd name="T79" fmla="*/ 616 h 1181"/>
                <a:gd name="T80" fmla="*/ 1038 w 1182"/>
                <a:gd name="T81" fmla="*/ 616 h 1181"/>
                <a:gd name="T82" fmla="*/ 616 w 1182"/>
                <a:gd name="T83" fmla="*/ 1037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182" h="1181">
                  <a:moveTo>
                    <a:pt x="1157" y="566"/>
                  </a:moveTo>
                  <a:lnTo>
                    <a:pt x="1088" y="566"/>
                  </a:lnTo>
                  <a:cubicBezTo>
                    <a:pt x="1075" y="311"/>
                    <a:pt x="870" y="106"/>
                    <a:pt x="616" y="94"/>
                  </a:cubicBezTo>
                  <a:lnTo>
                    <a:pt x="616" y="25"/>
                  </a:lnTo>
                  <a:cubicBezTo>
                    <a:pt x="616" y="11"/>
                    <a:pt x="605" y="0"/>
                    <a:pt x="591" y="0"/>
                  </a:cubicBezTo>
                  <a:cubicBezTo>
                    <a:pt x="577" y="0"/>
                    <a:pt x="566" y="11"/>
                    <a:pt x="566" y="25"/>
                  </a:cubicBezTo>
                  <a:lnTo>
                    <a:pt x="566" y="94"/>
                  </a:lnTo>
                  <a:cubicBezTo>
                    <a:pt x="311" y="106"/>
                    <a:pt x="107" y="311"/>
                    <a:pt x="94" y="566"/>
                  </a:cubicBezTo>
                  <a:lnTo>
                    <a:pt x="25" y="566"/>
                  </a:lnTo>
                  <a:cubicBezTo>
                    <a:pt x="11" y="566"/>
                    <a:pt x="0" y="577"/>
                    <a:pt x="0" y="591"/>
                  </a:cubicBezTo>
                  <a:cubicBezTo>
                    <a:pt x="0" y="604"/>
                    <a:pt x="11" y="616"/>
                    <a:pt x="25" y="616"/>
                  </a:cubicBezTo>
                  <a:lnTo>
                    <a:pt x="94" y="616"/>
                  </a:lnTo>
                  <a:cubicBezTo>
                    <a:pt x="107" y="870"/>
                    <a:pt x="311" y="1075"/>
                    <a:pt x="566" y="1088"/>
                  </a:cubicBezTo>
                  <a:lnTo>
                    <a:pt x="566" y="1156"/>
                  </a:lnTo>
                  <a:cubicBezTo>
                    <a:pt x="566" y="1170"/>
                    <a:pt x="577" y="1181"/>
                    <a:pt x="591" y="1181"/>
                  </a:cubicBezTo>
                  <a:cubicBezTo>
                    <a:pt x="605" y="1181"/>
                    <a:pt x="616" y="1170"/>
                    <a:pt x="616" y="1156"/>
                  </a:cubicBezTo>
                  <a:lnTo>
                    <a:pt x="616" y="1088"/>
                  </a:lnTo>
                  <a:cubicBezTo>
                    <a:pt x="870" y="1075"/>
                    <a:pt x="1075" y="870"/>
                    <a:pt x="1088" y="616"/>
                  </a:cubicBezTo>
                  <a:lnTo>
                    <a:pt x="1157" y="616"/>
                  </a:lnTo>
                  <a:cubicBezTo>
                    <a:pt x="1170" y="616"/>
                    <a:pt x="1182" y="604"/>
                    <a:pt x="1182" y="591"/>
                  </a:cubicBezTo>
                  <a:cubicBezTo>
                    <a:pt x="1182" y="577"/>
                    <a:pt x="1170" y="566"/>
                    <a:pt x="1157" y="566"/>
                  </a:cubicBezTo>
                  <a:close/>
                  <a:moveTo>
                    <a:pt x="616" y="1037"/>
                  </a:moveTo>
                  <a:lnTo>
                    <a:pt x="616" y="1015"/>
                  </a:lnTo>
                  <a:cubicBezTo>
                    <a:pt x="616" y="1002"/>
                    <a:pt x="605" y="990"/>
                    <a:pt x="591" y="990"/>
                  </a:cubicBezTo>
                  <a:cubicBezTo>
                    <a:pt x="577" y="990"/>
                    <a:pt x="566" y="1002"/>
                    <a:pt x="566" y="1015"/>
                  </a:cubicBezTo>
                  <a:lnTo>
                    <a:pt x="566" y="1037"/>
                  </a:lnTo>
                  <a:cubicBezTo>
                    <a:pt x="339" y="1025"/>
                    <a:pt x="157" y="843"/>
                    <a:pt x="144" y="616"/>
                  </a:cubicBezTo>
                  <a:lnTo>
                    <a:pt x="166" y="616"/>
                  </a:lnTo>
                  <a:cubicBezTo>
                    <a:pt x="180" y="616"/>
                    <a:pt x="191" y="604"/>
                    <a:pt x="191" y="591"/>
                  </a:cubicBezTo>
                  <a:cubicBezTo>
                    <a:pt x="191" y="577"/>
                    <a:pt x="180" y="566"/>
                    <a:pt x="166" y="566"/>
                  </a:cubicBezTo>
                  <a:lnTo>
                    <a:pt x="144" y="566"/>
                  </a:lnTo>
                  <a:cubicBezTo>
                    <a:pt x="157" y="339"/>
                    <a:pt x="339" y="156"/>
                    <a:pt x="566" y="144"/>
                  </a:cubicBezTo>
                  <a:lnTo>
                    <a:pt x="566" y="166"/>
                  </a:lnTo>
                  <a:cubicBezTo>
                    <a:pt x="566" y="180"/>
                    <a:pt x="577" y="191"/>
                    <a:pt x="591" y="191"/>
                  </a:cubicBezTo>
                  <a:cubicBezTo>
                    <a:pt x="605" y="191"/>
                    <a:pt x="616" y="180"/>
                    <a:pt x="616" y="166"/>
                  </a:cubicBezTo>
                  <a:lnTo>
                    <a:pt x="616" y="144"/>
                  </a:lnTo>
                  <a:cubicBezTo>
                    <a:pt x="843" y="156"/>
                    <a:pt x="1025" y="339"/>
                    <a:pt x="1038" y="566"/>
                  </a:cubicBezTo>
                  <a:lnTo>
                    <a:pt x="1016" y="566"/>
                  </a:lnTo>
                  <a:cubicBezTo>
                    <a:pt x="1002" y="566"/>
                    <a:pt x="991" y="577"/>
                    <a:pt x="991" y="591"/>
                  </a:cubicBezTo>
                  <a:cubicBezTo>
                    <a:pt x="991" y="604"/>
                    <a:pt x="1002" y="616"/>
                    <a:pt x="1016" y="616"/>
                  </a:cubicBezTo>
                  <a:lnTo>
                    <a:pt x="1038" y="616"/>
                  </a:lnTo>
                  <a:cubicBezTo>
                    <a:pt x="1025" y="843"/>
                    <a:pt x="843" y="1025"/>
                    <a:pt x="616" y="103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6" name="Tag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C958014-3819-6748-3F58-12B30173D3A8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4285635" y="2645605"/>
            <a:ext cx="966138" cy="961826"/>
          </a:xfrm>
          <a:custGeom>
            <a:avLst/>
            <a:gdLst>
              <a:gd name="T0" fmla="*/ 537 w 621"/>
              <a:gd name="T1" fmla="*/ 117 h 617"/>
              <a:gd name="T2" fmla="*/ 504 w 621"/>
              <a:gd name="T3" fmla="*/ 83 h 617"/>
              <a:gd name="T4" fmla="*/ 537 w 621"/>
              <a:gd name="T5" fmla="*/ 50 h 617"/>
              <a:gd name="T6" fmla="*/ 571 w 621"/>
              <a:gd name="T7" fmla="*/ 83 h 617"/>
              <a:gd name="T8" fmla="*/ 537 w 621"/>
              <a:gd name="T9" fmla="*/ 117 h 617"/>
              <a:gd name="T10" fmla="*/ 601 w 621"/>
              <a:gd name="T11" fmla="*/ 0 h 617"/>
              <a:gd name="T12" fmla="*/ 600 w 621"/>
              <a:gd name="T13" fmla="*/ 0 h 617"/>
              <a:gd name="T14" fmla="*/ 599 w 621"/>
              <a:gd name="T15" fmla="*/ 0 h 617"/>
              <a:gd name="T16" fmla="*/ 341 w 621"/>
              <a:gd name="T17" fmla="*/ 0 h 617"/>
              <a:gd name="T18" fmla="*/ 318 w 621"/>
              <a:gd name="T19" fmla="*/ 12 h 617"/>
              <a:gd name="T20" fmla="*/ 16 w 621"/>
              <a:gd name="T21" fmla="*/ 314 h 617"/>
              <a:gd name="T22" fmla="*/ 16 w 621"/>
              <a:gd name="T23" fmla="*/ 372 h 617"/>
              <a:gd name="T24" fmla="*/ 248 w 621"/>
              <a:gd name="T25" fmla="*/ 605 h 617"/>
              <a:gd name="T26" fmla="*/ 277 w 621"/>
              <a:gd name="T27" fmla="*/ 617 h 617"/>
              <a:gd name="T28" fmla="*/ 306 w 621"/>
              <a:gd name="T29" fmla="*/ 605 h 617"/>
              <a:gd name="T30" fmla="*/ 608 w 621"/>
              <a:gd name="T31" fmla="*/ 302 h 617"/>
              <a:gd name="T32" fmla="*/ 621 w 621"/>
              <a:gd name="T33" fmla="*/ 280 h 617"/>
              <a:gd name="T34" fmla="*/ 621 w 621"/>
              <a:gd name="T35" fmla="*/ 20 h 617"/>
              <a:gd name="T36" fmla="*/ 601 w 621"/>
              <a:gd name="T37" fmla="*/ 0 h 6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21" h="617">
                <a:moveTo>
                  <a:pt x="537" y="117"/>
                </a:moveTo>
                <a:cubicBezTo>
                  <a:pt x="519" y="117"/>
                  <a:pt x="504" y="102"/>
                  <a:pt x="504" y="83"/>
                </a:cubicBezTo>
                <a:cubicBezTo>
                  <a:pt x="504" y="65"/>
                  <a:pt x="519" y="50"/>
                  <a:pt x="537" y="50"/>
                </a:cubicBezTo>
                <a:cubicBezTo>
                  <a:pt x="556" y="50"/>
                  <a:pt x="571" y="65"/>
                  <a:pt x="571" y="83"/>
                </a:cubicBezTo>
                <a:cubicBezTo>
                  <a:pt x="571" y="102"/>
                  <a:pt x="556" y="117"/>
                  <a:pt x="537" y="117"/>
                </a:cubicBezTo>
                <a:close/>
                <a:moveTo>
                  <a:pt x="601" y="0"/>
                </a:moveTo>
                <a:lnTo>
                  <a:pt x="600" y="0"/>
                </a:lnTo>
                <a:cubicBezTo>
                  <a:pt x="600" y="0"/>
                  <a:pt x="600" y="0"/>
                  <a:pt x="599" y="0"/>
                </a:cubicBezTo>
                <a:lnTo>
                  <a:pt x="341" y="0"/>
                </a:lnTo>
                <a:cubicBezTo>
                  <a:pt x="334" y="0"/>
                  <a:pt x="320" y="10"/>
                  <a:pt x="318" y="12"/>
                </a:cubicBezTo>
                <a:lnTo>
                  <a:pt x="16" y="314"/>
                </a:lnTo>
                <a:cubicBezTo>
                  <a:pt x="0" y="330"/>
                  <a:pt x="0" y="356"/>
                  <a:pt x="16" y="372"/>
                </a:cubicBezTo>
                <a:lnTo>
                  <a:pt x="248" y="605"/>
                </a:lnTo>
                <a:cubicBezTo>
                  <a:pt x="256" y="613"/>
                  <a:pt x="267" y="617"/>
                  <a:pt x="277" y="617"/>
                </a:cubicBezTo>
                <a:cubicBezTo>
                  <a:pt x="288" y="617"/>
                  <a:pt x="298" y="613"/>
                  <a:pt x="306" y="605"/>
                </a:cubicBezTo>
                <a:lnTo>
                  <a:pt x="608" y="302"/>
                </a:lnTo>
                <a:cubicBezTo>
                  <a:pt x="610" y="300"/>
                  <a:pt x="621" y="288"/>
                  <a:pt x="621" y="280"/>
                </a:cubicBezTo>
                <a:lnTo>
                  <a:pt x="621" y="20"/>
                </a:lnTo>
                <a:cubicBezTo>
                  <a:pt x="621" y="9"/>
                  <a:pt x="613" y="0"/>
                  <a:pt x="601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B27E6E0-96F8-3CCE-7B11-0182865277E2}"/>
              </a:ext>
            </a:extLst>
          </p:cNvPr>
          <p:cNvSpPr txBox="1"/>
          <p:nvPr/>
        </p:nvSpPr>
        <p:spPr>
          <a:xfrm>
            <a:off x="4498570" y="2871091"/>
            <a:ext cx="63190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b="1" dirty="0">
                <a:solidFill>
                  <a:schemeClr val="bg1"/>
                </a:solidFill>
              </a:rPr>
              <a:t>20%</a:t>
            </a:r>
          </a:p>
        </p:txBody>
      </p:sp>
      <p:grpSp>
        <p:nvGrpSpPr>
          <p:cNvPr id="28" name="Applicatio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2028893-95EB-AB6D-21D6-9C0EF3337CE4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9696662" y="2731821"/>
            <a:ext cx="701646" cy="874387"/>
            <a:chOff x="46" y="2"/>
            <a:chExt cx="394" cy="491"/>
          </a:xfrm>
          <a:solidFill>
            <a:schemeClr val="tx1"/>
          </a:solidFill>
        </p:grpSpPr>
        <p:sp>
          <p:nvSpPr>
            <p:cNvPr id="29" name="Application">
              <a:extLst>
                <a:ext uri="{FF2B5EF4-FFF2-40B4-BE49-F238E27FC236}">
                  <a16:creationId xmlns:a16="http://schemas.microsoft.com/office/drawing/2014/main" id="{564877B2-CE9D-A176-1C94-43DF2D166614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33" y="309"/>
              <a:ext cx="55" cy="64"/>
            </a:xfrm>
            <a:custGeom>
              <a:avLst/>
              <a:gdLst>
                <a:gd name="T0" fmla="*/ 147 w 147"/>
                <a:gd name="T1" fmla="*/ 144 h 171"/>
                <a:gd name="T2" fmla="*/ 123 w 147"/>
                <a:gd name="T3" fmla="*/ 0 h 171"/>
                <a:gd name="T4" fmla="*/ 0 w 147"/>
                <a:gd name="T5" fmla="*/ 38 h 171"/>
                <a:gd name="T6" fmla="*/ 60 w 147"/>
                <a:gd name="T7" fmla="*/ 171 h 171"/>
                <a:gd name="T8" fmla="*/ 147 w 147"/>
                <a:gd name="T9" fmla="*/ 144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" h="171">
                  <a:moveTo>
                    <a:pt x="147" y="144"/>
                  </a:moveTo>
                  <a:lnTo>
                    <a:pt x="123" y="0"/>
                  </a:lnTo>
                  <a:lnTo>
                    <a:pt x="0" y="38"/>
                  </a:lnTo>
                  <a:lnTo>
                    <a:pt x="60" y="171"/>
                  </a:lnTo>
                  <a:lnTo>
                    <a:pt x="147" y="14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Application">
              <a:extLst>
                <a:ext uri="{FF2B5EF4-FFF2-40B4-BE49-F238E27FC236}">
                  <a16:creationId xmlns:a16="http://schemas.microsoft.com/office/drawing/2014/main" id="{4C05AF14-C371-68BF-7D3D-85C5D460D89A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45" y="369"/>
              <a:ext cx="69" cy="124"/>
            </a:xfrm>
            <a:custGeom>
              <a:avLst/>
              <a:gdLst>
                <a:gd name="T0" fmla="*/ 169 w 184"/>
                <a:gd name="T1" fmla="*/ 99 h 329"/>
                <a:gd name="T2" fmla="*/ 116 w 184"/>
                <a:gd name="T3" fmla="*/ 0 h 329"/>
                <a:gd name="T4" fmla="*/ 29 w 184"/>
                <a:gd name="T5" fmla="*/ 27 h 329"/>
                <a:gd name="T6" fmla="*/ 20 w 184"/>
                <a:gd name="T7" fmla="*/ 144 h 329"/>
                <a:gd name="T8" fmla="*/ 139 w 184"/>
                <a:gd name="T9" fmla="*/ 275 h 329"/>
                <a:gd name="T10" fmla="*/ 169 w 184"/>
                <a:gd name="T11" fmla="*/ 99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4" h="329">
                  <a:moveTo>
                    <a:pt x="169" y="99"/>
                  </a:moveTo>
                  <a:cubicBezTo>
                    <a:pt x="158" y="60"/>
                    <a:pt x="127" y="15"/>
                    <a:pt x="116" y="0"/>
                  </a:cubicBezTo>
                  <a:lnTo>
                    <a:pt x="29" y="27"/>
                  </a:lnTo>
                  <a:cubicBezTo>
                    <a:pt x="20" y="45"/>
                    <a:pt x="0" y="92"/>
                    <a:pt x="20" y="144"/>
                  </a:cubicBezTo>
                  <a:cubicBezTo>
                    <a:pt x="40" y="198"/>
                    <a:pt x="144" y="329"/>
                    <a:pt x="139" y="275"/>
                  </a:cubicBezTo>
                  <a:cubicBezTo>
                    <a:pt x="129" y="167"/>
                    <a:pt x="184" y="146"/>
                    <a:pt x="169" y="9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Application">
              <a:extLst>
                <a:ext uri="{FF2B5EF4-FFF2-40B4-BE49-F238E27FC236}">
                  <a16:creationId xmlns:a16="http://schemas.microsoft.com/office/drawing/2014/main" id="{94549084-3922-FDE0-25CD-86558B9CE1BC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46" y="2"/>
              <a:ext cx="394" cy="447"/>
            </a:xfrm>
            <a:custGeom>
              <a:avLst/>
              <a:gdLst>
                <a:gd name="T0" fmla="*/ 575 w 1050"/>
                <a:gd name="T1" fmla="*/ 18 h 1187"/>
                <a:gd name="T2" fmla="*/ 401 w 1050"/>
                <a:gd name="T3" fmla="*/ 578 h 1187"/>
                <a:gd name="T4" fmla="*/ 359 w 1050"/>
                <a:gd name="T5" fmla="*/ 346 h 1187"/>
                <a:gd name="T6" fmla="*/ 0 w 1050"/>
                <a:gd name="T7" fmla="*/ 578 h 1187"/>
                <a:gd name="T8" fmla="*/ 75 w 1050"/>
                <a:gd name="T9" fmla="*/ 728 h 1187"/>
                <a:gd name="T10" fmla="*/ 88 w 1050"/>
                <a:gd name="T11" fmla="*/ 678 h 1187"/>
                <a:gd name="T12" fmla="*/ 163 w 1050"/>
                <a:gd name="T13" fmla="*/ 728 h 1187"/>
                <a:gd name="T14" fmla="*/ 175 w 1050"/>
                <a:gd name="T15" fmla="*/ 678 h 1187"/>
                <a:gd name="T16" fmla="*/ 195 w 1050"/>
                <a:gd name="T17" fmla="*/ 728 h 1187"/>
                <a:gd name="T18" fmla="*/ 29 w 1050"/>
                <a:gd name="T19" fmla="*/ 1120 h 1187"/>
                <a:gd name="T20" fmla="*/ 57 w 1050"/>
                <a:gd name="T21" fmla="*/ 1133 h 1187"/>
                <a:gd name="T22" fmla="*/ 58 w 1050"/>
                <a:gd name="T23" fmla="*/ 1132 h 1187"/>
                <a:gd name="T24" fmla="*/ 70 w 1050"/>
                <a:gd name="T25" fmla="*/ 1159 h 1187"/>
                <a:gd name="T26" fmla="*/ 105 w 1050"/>
                <a:gd name="T27" fmla="*/ 1174 h 1187"/>
                <a:gd name="T28" fmla="*/ 129 w 1050"/>
                <a:gd name="T29" fmla="*/ 1162 h 1187"/>
                <a:gd name="T30" fmla="*/ 128 w 1050"/>
                <a:gd name="T31" fmla="*/ 1163 h 1187"/>
                <a:gd name="T32" fmla="*/ 148 w 1050"/>
                <a:gd name="T33" fmla="*/ 1171 h 1187"/>
                <a:gd name="T34" fmla="*/ 148 w 1050"/>
                <a:gd name="T35" fmla="*/ 1169 h 1187"/>
                <a:gd name="T36" fmla="*/ 363 w 1050"/>
                <a:gd name="T37" fmla="*/ 728 h 1187"/>
                <a:gd name="T38" fmla="*/ 375 w 1050"/>
                <a:gd name="T39" fmla="*/ 678 h 1187"/>
                <a:gd name="T40" fmla="*/ 463 w 1050"/>
                <a:gd name="T41" fmla="*/ 728 h 1187"/>
                <a:gd name="T42" fmla="*/ 475 w 1050"/>
                <a:gd name="T43" fmla="*/ 678 h 1187"/>
                <a:gd name="T44" fmla="*/ 563 w 1050"/>
                <a:gd name="T45" fmla="*/ 728 h 1187"/>
                <a:gd name="T46" fmla="*/ 575 w 1050"/>
                <a:gd name="T47" fmla="*/ 678 h 1187"/>
                <a:gd name="T48" fmla="*/ 663 w 1050"/>
                <a:gd name="T49" fmla="*/ 728 h 1187"/>
                <a:gd name="T50" fmla="*/ 675 w 1050"/>
                <a:gd name="T51" fmla="*/ 678 h 1187"/>
                <a:gd name="T52" fmla="*/ 727 w 1050"/>
                <a:gd name="T53" fmla="*/ 728 h 1187"/>
                <a:gd name="T54" fmla="*/ 877 w 1050"/>
                <a:gd name="T55" fmla="*/ 798 h 1187"/>
                <a:gd name="T56" fmla="*/ 875 w 1050"/>
                <a:gd name="T57" fmla="*/ 728 h 1187"/>
                <a:gd name="T58" fmla="*/ 888 w 1050"/>
                <a:gd name="T59" fmla="*/ 678 h 1187"/>
                <a:gd name="T60" fmla="*/ 975 w 1050"/>
                <a:gd name="T61" fmla="*/ 728 h 1187"/>
                <a:gd name="T62" fmla="*/ 988 w 1050"/>
                <a:gd name="T63" fmla="*/ 678 h 1187"/>
                <a:gd name="T64" fmla="*/ 1050 w 1050"/>
                <a:gd name="T65" fmla="*/ 728 h 1187"/>
                <a:gd name="T66" fmla="*/ 815 w 1050"/>
                <a:gd name="T67" fmla="*/ 578 h 1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0" h="1187">
                  <a:moveTo>
                    <a:pt x="815" y="578"/>
                  </a:moveTo>
                  <a:cubicBezTo>
                    <a:pt x="746" y="340"/>
                    <a:pt x="636" y="0"/>
                    <a:pt x="575" y="18"/>
                  </a:cubicBezTo>
                  <a:cubicBezTo>
                    <a:pt x="518" y="36"/>
                    <a:pt x="603" y="340"/>
                    <a:pt x="677" y="578"/>
                  </a:cubicBezTo>
                  <a:lnTo>
                    <a:pt x="401" y="578"/>
                  </a:lnTo>
                  <a:lnTo>
                    <a:pt x="478" y="396"/>
                  </a:lnTo>
                  <a:lnTo>
                    <a:pt x="359" y="346"/>
                  </a:lnTo>
                  <a:lnTo>
                    <a:pt x="261" y="578"/>
                  </a:lnTo>
                  <a:lnTo>
                    <a:pt x="0" y="578"/>
                  </a:lnTo>
                  <a:lnTo>
                    <a:pt x="0" y="728"/>
                  </a:lnTo>
                  <a:lnTo>
                    <a:pt x="75" y="728"/>
                  </a:lnTo>
                  <a:lnTo>
                    <a:pt x="75" y="678"/>
                  </a:lnTo>
                  <a:lnTo>
                    <a:pt x="88" y="678"/>
                  </a:lnTo>
                  <a:lnTo>
                    <a:pt x="88" y="728"/>
                  </a:lnTo>
                  <a:lnTo>
                    <a:pt x="163" y="728"/>
                  </a:lnTo>
                  <a:lnTo>
                    <a:pt x="163" y="678"/>
                  </a:lnTo>
                  <a:lnTo>
                    <a:pt x="175" y="678"/>
                  </a:lnTo>
                  <a:lnTo>
                    <a:pt x="175" y="728"/>
                  </a:lnTo>
                  <a:lnTo>
                    <a:pt x="195" y="728"/>
                  </a:lnTo>
                  <a:lnTo>
                    <a:pt x="30" y="1118"/>
                  </a:lnTo>
                  <a:cubicBezTo>
                    <a:pt x="30" y="1119"/>
                    <a:pt x="29" y="1120"/>
                    <a:pt x="29" y="1120"/>
                  </a:cubicBezTo>
                  <a:cubicBezTo>
                    <a:pt x="25" y="1130"/>
                    <a:pt x="28" y="1141"/>
                    <a:pt x="36" y="1144"/>
                  </a:cubicBezTo>
                  <a:cubicBezTo>
                    <a:pt x="43" y="1148"/>
                    <a:pt x="53" y="1143"/>
                    <a:pt x="57" y="1133"/>
                  </a:cubicBezTo>
                  <a:cubicBezTo>
                    <a:pt x="58" y="1132"/>
                    <a:pt x="58" y="1132"/>
                    <a:pt x="58" y="1132"/>
                  </a:cubicBezTo>
                  <a:lnTo>
                    <a:pt x="58" y="1132"/>
                  </a:lnTo>
                  <a:cubicBezTo>
                    <a:pt x="58" y="1132"/>
                    <a:pt x="58" y="1132"/>
                    <a:pt x="57" y="1133"/>
                  </a:cubicBezTo>
                  <a:cubicBezTo>
                    <a:pt x="53" y="1143"/>
                    <a:pt x="59" y="1154"/>
                    <a:pt x="70" y="1159"/>
                  </a:cubicBezTo>
                  <a:cubicBezTo>
                    <a:pt x="79" y="1163"/>
                    <a:pt x="89" y="1161"/>
                    <a:pt x="95" y="1155"/>
                  </a:cubicBezTo>
                  <a:cubicBezTo>
                    <a:pt x="94" y="1163"/>
                    <a:pt x="98" y="1171"/>
                    <a:pt x="105" y="1174"/>
                  </a:cubicBezTo>
                  <a:cubicBezTo>
                    <a:pt x="114" y="1178"/>
                    <a:pt x="124" y="1173"/>
                    <a:pt x="128" y="1163"/>
                  </a:cubicBezTo>
                  <a:cubicBezTo>
                    <a:pt x="129" y="1163"/>
                    <a:pt x="129" y="1162"/>
                    <a:pt x="129" y="1162"/>
                  </a:cubicBezTo>
                  <a:lnTo>
                    <a:pt x="129" y="1162"/>
                  </a:lnTo>
                  <a:cubicBezTo>
                    <a:pt x="129" y="1162"/>
                    <a:pt x="129" y="1163"/>
                    <a:pt x="128" y="1163"/>
                  </a:cubicBezTo>
                  <a:cubicBezTo>
                    <a:pt x="124" y="1173"/>
                    <a:pt x="125" y="1183"/>
                    <a:pt x="131" y="1185"/>
                  </a:cubicBezTo>
                  <a:cubicBezTo>
                    <a:pt x="136" y="1187"/>
                    <a:pt x="144" y="1181"/>
                    <a:pt x="148" y="1171"/>
                  </a:cubicBezTo>
                  <a:cubicBezTo>
                    <a:pt x="148" y="1171"/>
                    <a:pt x="148" y="1171"/>
                    <a:pt x="148" y="1170"/>
                  </a:cubicBezTo>
                  <a:lnTo>
                    <a:pt x="148" y="1169"/>
                  </a:lnTo>
                  <a:lnTo>
                    <a:pt x="336" y="728"/>
                  </a:lnTo>
                  <a:lnTo>
                    <a:pt x="363" y="728"/>
                  </a:lnTo>
                  <a:lnTo>
                    <a:pt x="363" y="678"/>
                  </a:lnTo>
                  <a:lnTo>
                    <a:pt x="375" y="678"/>
                  </a:lnTo>
                  <a:lnTo>
                    <a:pt x="375" y="728"/>
                  </a:lnTo>
                  <a:lnTo>
                    <a:pt x="463" y="728"/>
                  </a:lnTo>
                  <a:lnTo>
                    <a:pt x="463" y="678"/>
                  </a:lnTo>
                  <a:lnTo>
                    <a:pt x="475" y="678"/>
                  </a:lnTo>
                  <a:lnTo>
                    <a:pt x="475" y="728"/>
                  </a:lnTo>
                  <a:lnTo>
                    <a:pt x="563" y="728"/>
                  </a:lnTo>
                  <a:lnTo>
                    <a:pt x="563" y="678"/>
                  </a:lnTo>
                  <a:lnTo>
                    <a:pt x="575" y="678"/>
                  </a:lnTo>
                  <a:lnTo>
                    <a:pt x="575" y="728"/>
                  </a:lnTo>
                  <a:lnTo>
                    <a:pt x="663" y="728"/>
                  </a:lnTo>
                  <a:lnTo>
                    <a:pt x="663" y="678"/>
                  </a:lnTo>
                  <a:lnTo>
                    <a:pt x="675" y="678"/>
                  </a:lnTo>
                  <a:lnTo>
                    <a:pt x="675" y="728"/>
                  </a:lnTo>
                  <a:lnTo>
                    <a:pt x="727" y="728"/>
                  </a:lnTo>
                  <a:cubicBezTo>
                    <a:pt x="746" y="790"/>
                    <a:pt x="760" y="824"/>
                    <a:pt x="763" y="833"/>
                  </a:cubicBezTo>
                  <a:lnTo>
                    <a:pt x="877" y="798"/>
                  </a:lnTo>
                  <a:cubicBezTo>
                    <a:pt x="875" y="791"/>
                    <a:pt x="868" y="765"/>
                    <a:pt x="858" y="728"/>
                  </a:cubicBezTo>
                  <a:lnTo>
                    <a:pt x="875" y="728"/>
                  </a:lnTo>
                  <a:lnTo>
                    <a:pt x="875" y="678"/>
                  </a:lnTo>
                  <a:lnTo>
                    <a:pt x="888" y="678"/>
                  </a:lnTo>
                  <a:lnTo>
                    <a:pt x="888" y="728"/>
                  </a:lnTo>
                  <a:lnTo>
                    <a:pt x="975" y="728"/>
                  </a:lnTo>
                  <a:lnTo>
                    <a:pt x="975" y="678"/>
                  </a:lnTo>
                  <a:lnTo>
                    <a:pt x="988" y="678"/>
                  </a:lnTo>
                  <a:lnTo>
                    <a:pt x="988" y="728"/>
                  </a:lnTo>
                  <a:lnTo>
                    <a:pt x="1050" y="728"/>
                  </a:lnTo>
                  <a:lnTo>
                    <a:pt x="1050" y="578"/>
                  </a:lnTo>
                  <a:lnTo>
                    <a:pt x="815" y="57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Application">
              <a:extLst>
                <a:ext uri="{FF2B5EF4-FFF2-40B4-BE49-F238E27FC236}">
                  <a16:creationId xmlns:a16="http://schemas.microsoft.com/office/drawing/2014/main" id="{AB48D44C-C6FC-17CB-91B3-8B1E88255DEE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198" y="58"/>
              <a:ext cx="57" cy="51"/>
            </a:xfrm>
            <a:custGeom>
              <a:avLst/>
              <a:gdLst>
                <a:gd name="T0" fmla="*/ 143 w 151"/>
                <a:gd name="T1" fmla="*/ 79 h 134"/>
                <a:gd name="T2" fmla="*/ 122 w 151"/>
                <a:gd name="T3" fmla="*/ 29 h 134"/>
                <a:gd name="T4" fmla="*/ 74 w 151"/>
                <a:gd name="T5" fmla="*/ 8 h 134"/>
                <a:gd name="T6" fmla="*/ 24 w 151"/>
                <a:gd name="T7" fmla="*/ 29 h 134"/>
                <a:gd name="T8" fmla="*/ 0 w 151"/>
                <a:gd name="T9" fmla="*/ 84 h 134"/>
                <a:gd name="T10" fmla="*/ 119 w 151"/>
                <a:gd name="T11" fmla="*/ 134 h 134"/>
                <a:gd name="T12" fmla="*/ 143 w 151"/>
                <a:gd name="T13" fmla="*/ 79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34">
                  <a:moveTo>
                    <a:pt x="143" y="79"/>
                  </a:moveTo>
                  <a:cubicBezTo>
                    <a:pt x="151" y="60"/>
                    <a:pt x="142" y="37"/>
                    <a:pt x="122" y="29"/>
                  </a:cubicBezTo>
                  <a:lnTo>
                    <a:pt x="74" y="8"/>
                  </a:lnTo>
                  <a:cubicBezTo>
                    <a:pt x="55" y="0"/>
                    <a:pt x="32" y="9"/>
                    <a:pt x="24" y="29"/>
                  </a:cubicBezTo>
                  <a:lnTo>
                    <a:pt x="0" y="84"/>
                  </a:lnTo>
                  <a:lnTo>
                    <a:pt x="119" y="134"/>
                  </a:lnTo>
                  <a:lnTo>
                    <a:pt x="143" y="7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Application">
              <a:extLst>
                <a:ext uri="{FF2B5EF4-FFF2-40B4-BE49-F238E27FC236}">
                  <a16:creationId xmlns:a16="http://schemas.microsoft.com/office/drawing/2014/main" id="{E471135B-4D66-4B53-0F71-1961FDA7921B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183" y="97"/>
              <a:ext cx="57" cy="47"/>
            </a:xfrm>
            <a:custGeom>
              <a:avLst/>
              <a:gdLst>
                <a:gd name="T0" fmla="*/ 31 w 150"/>
                <a:gd name="T1" fmla="*/ 0 h 124"/>
                <a:gd name="T2" fmla="*/ 150 w 150"/>
                <a:gd name="T3" fmla="*/ 51 h 124"/>
                <a:gd name="T4" fmla="*/ 119 w 150"/>
                <a:gd name="T5" fmla="*/ 124 h 124"/>
                <a:gd name="T6" fmla="*/ 0 w 150"/>
                <a:gd name="T7" fmla="*/ 73 h 124"/>
                <a:gd name="T8" fmla="*/ 31 w 150"/>
                <a:gd name="T9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0" h="124">
                  <a:moveTo>
                    <a:pt x="31" y="0"/>
                  </a:moveTo>
                  <a:lnTo>
                    <a:pt x="150" y="51"/>
                  </a:lnTo>
                  <a:lnTo>
                    <a:pt x="119" y="124"/>
                  </a:lnTo>
                  <a:lnTo>
                    <a:pt x="0" y="73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Application">
              <a:extLst>
                <a:ext uri="{FF2B5EF4-FFF2-40B4-BE49-F238E27FC236}">
                  <a16:creationId xmlns:a16="http://schemas.microsoft.com/office/drawing/2014/main" id="{2BAAB7BD-FE77-897F-DCE7-0B227B299311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57" y="456"/>
              <a:ext cx="20" cy="23"/>
            </a:xfrm>
            <a:custGeom>
              <a:avLst/>
              <a:gdLst>
                <a:gd name="T0" fmla="*/ 5 w 52"/>
                <a:gd name="T1" fmla="*/ 61 h 61"/>
                <a:gd name="T2" fmla="*/ 52 w 52"/>
                <a:gd name="T3" fmla="*/ 22 h 61"/>
                <a:gd name="T4" fmla="*/ 0 w 52"/>
                <a:gd name="T5" fmla="*/ 0 h 61"/>
                <a:gd name="T6" fmla="*/ 5 w 52"/>
                <a:gd name="T7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61">
                  <a:moveTo>
                    <a:pt x="5" y="61"/>
                  </a:moveTo>
                  <a:lnTo>
                    <a:pt x="52" y="22"/>
                  </a:lnTo>
                  <a:lnTo>
                    <a:pt x="0" y="0"/>
                  </a:lnTo>
                  <a:lnTo>
                    <a:pt x="5" y="6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E490500C-3FB3-2B18-DE44-3B2E4833738B}"/>
              </a:ext>
            </a:extLst>
          </p:cNvPr>
          <p:cNvSpPr txBox="1"/>
          <p:nvPr/>
        </p:nvSpPr>
        <p:spPr>
          <a:xfrm>
            <a:off x="1059140" y="4517699"/>
            <a:ext cx="2268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dirty="0">
                <a:solidFill>
                  <a:prstClr val="black"/>
                </a:solidFill>
              </a:rPr>
              <a:t>For when you try new Summer Promotions advertising mail activity.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  <a:p>
            <a:pPr lvl="0" algn="ctr">
              <a:defRPr/>
            </a:pP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C1D7A50-F8FC-6E37-3490-B42DD97E80E5}"/>
              </a:ext>
            </a:extLst>
          </p:cNvPr>
          <p:cNvSpPr txBox="1"/>
          <p:nvPr/>
        </p:nvSpPr>
        <p:spPr>
          <a:xfrm>
            <a:off x="8923996" y="4517699"/>
            <a:ext cx="2268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For more information and  to apply go to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16"/>
              </a:rPr>
              <a:t>www.royalmailwholesale.com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1D744BFF-6CCA-3982-EC18-D73B15ED6409}"/>
              </a:ext>
            </a:extLst>
          </p:cNvPr>
          <p:cNvSpPr txBox="1">
            <a:spLocks/>
          </p:cNvSpPr>
          <p:nvPr/>
        </p:nvSpPr>
        <p:spPr>
          <a:xfrm>
            <a:off x="800948" y="6559642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* 50K Letters for the Charity Sector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52319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4CA3A3-5C83-A276-687C-3446CB1E8C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ntry requireme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CA8792-4614-7E79-A6F5-6BA3654B1E5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648A7B-9BBF-0BF6-7132-3D23F3B2DC9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8</a:t>
            </a:fld>
            <a:endParaRPr lang="en-GB" dirty="0"/>
          </a:p>
        </p:txBody>
      </p:sp>
      <p:sp>
        <p:nvSpPr>
          <p:cNvPr id="7" name="Arrow1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FB4530B-68E8-C2AE-D50E-0343E9924E8D}"/>
              </a:ext>
            </a:extLst>
          </p:cNvPr>
          <p:cNvSpPr>
            <a:spLocks noChangeAspect="1"/>
          </p:cNvSpPr>
          <p:nvPr/>
        </p:nvSpPr>
        <p:spPr>
          <a:xfrm>
            <a:off x="942871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  <a:scene3d>
              <a:camera prst="orthographicFront">
                <a:rot lat="0" lon="0" rev="0"/>
              </a:camera>
              <a:lightRig rig="threePt" dir="t"/>
            </a:scene3d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Arrow14 - 1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0E328CB-A4DC-90AA-2352-AB3527785FFB}"/>
              </a:ext>
            </a:extLst>
          </p:cNvPr>
          <p:cNvSpPr>
            <a:spLocks noChangeAspect="1"/>
          </p:cNvSpPr>
          <p:nvPr/>
        </p:nvSpPr>
        <p:spPr>
          <a:xfrm>
            <a:off x="3583158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Arrow14 - 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EADC515-6C60-987A-EEDB-EB9778386D13}"/>
              </a:ext>
            </a:extLst>
          </p:cNvPr>
          <p:cNvSpPr>
            <a:spLocks noChangeAspect="1"/>
          </p:cNvSpPr>
          <p:nvPr/>
        </p:nvSpPr>
        <p:spPr>
          <a:xfrm>
            <a:off x="6223445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Arrow14 - 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2AD8A90-5D94-2580-D33D-3D79F0C87D87}"/>
              </a:ext>
            </a:extLst>
          </p:cNvPr>
          <p:cNvSpPr>
            <a:spLocks noChangeAspect="1"/>
          </p:cNvSpPr>
          <p:nvPr/>
        </p:nvSpPr>
        <p:spPr>
          <a:xfrm>
            <a:off x="8863731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71486BE-A84E-47EE-C44B-62FBE0372093}"/>
              </a:ext>
            </a:extLst>
          </p:cNvPr>
          <p:cNvSpPr txBox="1"/>
          <p:nvPr/>
        </p:nvSpPr>
        <p:spPr>
          <a:xfrm>
            <a:off x="807776" y="4691882"/>
            <a:ext cx="266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1600" dirty="0"/>
              <a:t>Test addressed Letter items sent using Advertising Mail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304B92E-2817-3233-EA2E-BF3FA17B8182}"/>
              </a:ext>
            </a:extLst>
          </p:cNvPr>
          <p:cNvSpPr txBox="1"/>
          <p:nvPr/>
        </p:nvSpPr>
        <p:spPr>
          <a:xfrm>
            <a:off x="3445259" y="4691882"/>
            <a:ext cx="26640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GB" sz="1600" dirty="0"/>
              <a:t>Measure the performance of the test and share the results with us so we can understand whether the tests we invest in achieve their objectives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3644C48-1387-6445-357E-A01212608107}"/>
              </a:ext>
            </a:extLst>
          </p:cNvPr>
          <p:cNvSpPr txBox="1"/>
          <p:nvPr/>
        </p:nvSpPr>
        <p:spPr>
          <a:xfrm>
            <a:off x="6082742" y="4691882"/>
            <a:ext cx="26640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GB" sz="1600" dirty="0"/>
              <a:t>The minimum volume is 100k* Letters or 50k Catalogues. The maximum volume is </a:t>
            </a:r>
            <a:r>
              <a:rPr lang="en-GB" sz="1600"/>
              <a:t>1m items.</a:t>
            </a:r>
            <a:endParaRPr lang="en-GB" sz="16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D4B4045-3270-C608-512F-50A4E816320C}"/>
              </a:ext>
            </a:extLst>
          </p:cNvPr>
          <p:cNvSpPr txBox="1"/>
          <p:nvPr/>
        </p:nvSpPr>
        <p:spPr>
          <a:xfrm>
            <a:off x="8720224" y="4691882"/>
            <a:ext cx="2664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GB" sz="1600" dirty="0"/>
              <a:t>Submit your application form 10 days before the start date of your test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1D75804-09E5-0C27-5D9B-0FF39C51A5CF}"/>
              </a:ext>
            </a:extLst>
          </p:cNvPr>
          <p:cNvSpPr txBox="1"/>
          <p:nvPr/>
        </p:nvSpPr>
        <p:spPr>
          <a:xfrm>
            <a:off x="2400273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4B51F63-BD72-7461-CC14-82D2AB6D80D9}"/>
              </a:ext>
            </a:extLst>
          </p:cNvPr>
          <p:cNvSpPr txBox="1"/>
          <p:nvPr/>
        </p:nvSpPr>
        <p:spPr>
          <a:xfrm>
            <a:off x="5035246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86BA74A-1867-B9A2-A2DE-F98AC5CA420C}"/>
              </a:ext>
            </a:extLst>
          </p:cNvPr>
          <p:cNvSpPr txBox="1"/>
          <p:nvPr/>
        </p:nvSpPr>
        <p:spPr>
          <a:xfrm>
            <a:off x="7670219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51121CA-C790-3B83-9E78-80E454DF5961}"/>
              </a:ext>
            </a:extLst>
          </p:cNvPr>
          <p:cNvSpPr txBox="1"/>
          <p:nvPr/>
        </p:nvSpPr>
        <p:spPr>
          <a:xfrm>
            <a:off x="10305193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C2CE9292-B53B-DA03-42FE-0FBE8F6AF2A6}"/>
              </a:ext>
            </a:extLst>
          </p:cNvPr>
          <p:cNvSpPr txBox="1">
            <a:spLocks noGrp="1"/>
          </p:cNvSpPr>
          <p:nvPr>
            <p:ph type="body" sz="quarter" idx="12"/>
          </p:nvPr>
        </p:nvSpPr>
        <p:spPr>
          <a:xfrm>
            <a:off x="801688" y="6372225"/>
            <a:ext cx="5208587" cy="133350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* 50K Letters for the Charity Sector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11336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1BB2BF-1035-C8CF-F7F7-BD54F1043C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ffer dat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A5A09F-D4F1-1EE8-450D-495FAA9D31F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5A811-CEC6-FC03-7DB5-05E868C1096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9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8515413-4151-0F86-3475-F8FF74922F2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66D231-43C2-2239-E4BC-BC7F0903DAA6}"/>
              </a:ext>
            </a:extLst>
          </p:cNvPr>
          <p:cNvSpPr txBox="1"/>
          <p:nvPr/>
        </p:nvSpPr>
        <p:spPr>
          <a:xfrm>
            <a:off x="4555336" y="3448855"/>
            <a:ext cx="89223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19 May</a:t>
            </a:r>
          </a:p>
          <a:p>
            <a:pPr algn="ctr"/>
            <a:r>
              <a:rPr lang="en-GB" b="1" dirty="0"/>
              <a:t>2025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2764151-B4F9-FCC4-D66F-4019BA47CB61}"/>
              </a:ext>
            </a:extLst>
          </p:cNvPr>
          <p:cNvSpPr txBox="1"/>
          <p:nvPr/>
        </p:nvSpPr>
        <p:spPr>
          <a:xfrm>
            <a:off x="4100853" y="4437606"/>
            <a:ext cx="18011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First posting dat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8755B24-F4F0-702F-F31C-D2F02B79AE4D}"/>
              </a:ext>
            </a:extLst>
          </p:cNvPr>
          <p:cNvSpPr txBox="1"/>
          <p:nvPr/>
        </p:nvSpPr>
        <p:spPr>
          <a:xfrm>
            <a:off x="6789908" y="3448855"/>
            <a:ext cx="83708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18 July</a:t>
            </a:r>
          </a:p>
          <a:p>
            <a:pPr algn="ctr"/>
            <a:r>
              <a:rPr lang="en-GB" b="1" dirty="0"/>
              <a:t>2025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586B7CB-129E-E77B-5DAF-75686DD9DE0C}"/>
              </a:ext>
            </a:extLst>
          </p:cNvPr>
          <p:cNvSpPr txBox="1"/>
          <p:nvPr/>
        </p:nvSpPr>
        <p:spPr>
          <a:xfrm>
            <a:off x="6384445" y="4437076"/>
            <a:ext cx="16480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Last application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601EB1D-7F5A-5214-A03F-56766F99F3D7}"/>
              </a:ext>
            </a:extLst>
          </p:cNvPr>
          <p:cNvGrpSpPr/>
          <p:nvPr/>
        </p:nvGrpSpPr>
        <p:grpSpPr>
          <a:xfrm>
            <a:off x="4177445" y="2524820"/>
            <a:ext cx="1648014" cy="1808359"/>
            <a:chOff x="6761932" y="1222043"/>
            <a:chExt cx="1648014" cy="1808359"/>
          </a:xfrm>
        </p:grpSpPr>
        <p:sp>
          <p:nvSpPr>
            <p:cNvPr id="12" name="Free-form: Shape 297">
              <a:extLst>
                <a:ext uri="{FF2B5EF4-FFF2-40B4-BE49-F238E27FC236}">
                  <a16:creationId xmlns:a16="http://schemas.microsoft.com/office/drawing/2014/main" id="{51DB452B-FC7F-D167-7608-24533ADAAE35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" name="Free-form: Shape 298">
              <a:extLst>
                <a:ext uri="{FF2B5EF4-FFF2-40B4-BE49-F238E27FC236}">
                  <a16:creationId xmlns:a16="http://schemas.microsoft.com/office/drawing/2014/main" id="{E0ADBA32-DD59-4BD8-6604-D46A131C6833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73B693E-3C1A-C9C1-051B-96E99302FB4A}"/>
              </a:ext>
            </a:extLst>
          </p:cNvPr>
          <p:cNvGrpSpPr/>
          <p:nvPr/>
        </p:nvGrpSpPr>
        <p:grpSpPr>
          <a:xfrm>
            <a:off x="6384445" y="2524820"/>
            <a:ext cx="1648014" cy="1808359"/>
            <a:chOff x="6761932" y="1222043"/>
            <a:chExt cx="1648014" cy="1808359"/>
          </a:xfrm>
        </p:grpSpPr>
        <p:sp>
          <p:nvSpPr>
            <p:cNvPr id="15" name="Free-form: Shape 297">
              <a:extLst>
                <a:ext uri="{FF2B5EF4-FFF2-40B4-BE49-F238E27FC236}">
                  <a16:creationId xmlns:a16="http://schemas.microsoft.com/office/drawing/2014/main" id="{DBF82459-CBF9-7F55-394C-67A9780BF078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" name="Free-form: Shape 298">
              <a:extLst>
                <a:ext uri="{FF2B5EF4-FFF2-40B4-BE49-F238E27FC236}">
                  <a16:creationId xmlns:a16="http://schemas.microsoft.com/office/drawing/2014/main" id="{9FDD9C00-3D10-814F-D6E5-089478F350F9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0B19CA40-D385-E83D-AADE-02CC55622F4F}"/>
              </a:ext>
            </a:extLst>
          </p:cNvPr>
          <p:cNvSpPr txBox="1"/>
          <p:nvPr/>
        </p:nvSpPr>
        <p:spPr>
          <a:xfrm>
            <a:off x="8587505" y="4434028"/>
            <a:ext cx="17747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Last posting dat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2A80843-6459-980A-E6B0-B780EB84DCDF}"/>
              </a:ext>
            </a:extLst>
          </p:cNvPr>
          <p:cNvGrpSpPr/>
          <p:nvPr/>
        </p:nvGrpSpPr>
        <p:grpSpPr>
          <a:xfrm>
            <a:off x="8650857" y="2524820"/>
            <a:ext cx="1648014" cy="1808359"/>
            <a:chOff x="6761932" y="1222043"/>
            <a:chExt cx="1648014" cy="1808359"/>
          </a:xfrm>
        </p:grpSpPr>
        <p:sp>
          <p:nvSpPr>
            <p:cNvPr id="20" name="Free-form: Shape 297">
              <a:extLst>
                <a:ext uri="{FF2B5EF4-FFF2-40B4-BE49-F238E27FC236}">
                  <a16:creationId xmlns:a16="http://schemas.microsoft.com/office/drawing/2014/main" id="{6E206338-7DCA-192C-E14C-8513EC2D5540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" name="Free-form: Shape 298">
              <a:extLst>
                <a:ext uri="{FF2B5EF4-FFF2-40B4-BE49-F238E27FC236}">
                  <a16:creationId xmlns:a16="http://schemas.microsoft.com/office/drawing/2014/main" id="{416F8AA3-D77F-97E3-C0D7-FE74CC9FD6F6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79827002-F221-636A-826B-BF60448D8F42}"/>
              </a:ext>
            </a:extLst>
          </p:cNvPr>
          <p:cNvSpPr txBox="1"/>
          <p:nvPr/>
        </p:nvSpPr>
        <p:spPr>
          <a:xfrm>
            <a:off x="8906921" y="3448855"/>
            <a:ext cx="11358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01 August</a:t>
            </a:r>
          </a:p>
          <a:p>
            <a:pPr algn="ctr"/>
            <a:r>
              <a:rPr lang="en-GB" b="1" dirty="0"/>
              <a:t>2025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044F3B9-DC3E-71E6-6911-0217F31DBEDF}"/>
              </a:ext>
            </a:extLst>
          </p:cNvPr>
          <p:cNvGrpSpPr/>
          <p:nvPr/>
        </p:nvGrpSpPr>
        <p:grpSpPr>
          <a:xfrm>
            <a:off x="1950845" y="2524820"/>
            <a:ext cx="1648014" cy="1808359"/>
            <a:chOff x="6761932" y="1222043"/>
            <a:chExt cx="1648014" cy="1808359"/>
          </a:xfrm>
        </p:grpSpPr>
        <p:sp>
          <p:nvSpPr>
            <p:cNvPr id="17" name="Free-form: Shape 297">
              <a:extLst>
                <a:ext uri="{FF2B5EF4-FFF2-40B4-BE49-F238E27FC236}">
                  <a16:creationId xmlns:a16="http://schemas.microsoft.com/office/drawing/2014/main" id="{310866B8-1B23-93E1-4895-87C6565E967C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" name="Free-form: Shape 298">
              <a:extLst>
                <a:ext uri="{FF2B5EF4-FFF2-40B4-BE49-F238E27FC236}">
                  <a16:creationId xmlns:a16="http://schemas.microsoft.com/office/drawing/2014/main" id="{63FFE7D4-AD4F-0851-5879-5F3E33DFFF57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305A0209-4558-B8E6-0269-434DEFD06CE0}"/>
              </a:ext>
            </a:extLst>
          </p:cNvPr>
          <p:cNvSpPr txBox="1"/>
          <p:nvPr/>
        </p:nvSpPr>
        <p:spPr>
          <a:xfrm>
            <a:off x="1840558" y="4465807"/>
            <a:ext cx="1868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Applications open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12C57BE-02C1-7FA3-B657-262ECC75BDBF}"/>
              </a:ext>
            </a:extLst>
          </p:cNvPr>
          <p:cNvSpPr txBox="1"/>
          <p:nvPr/>
        </p:nvSpPr>
        <p:spPr>
          <a:xfrm>
            <a:off x="2328736" y="3429997"/>
            <a:ext cx="89223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05 May</a:t>
            </a:r>
          </a:p>
          <a:p>
            <a:pPr algn="ctr"/>
            <a:r>
              <a:rPr lang="en-GB" b="1" dirty="0"/>
              <a:t>2025</a:t>
            </a:r>
          </a:p>
        </p:txBody>
      </p:sp>
    </p:spTree>
    <p:extLst>
      <p:ext uri="{BB962C8B-B14F-4D97-AF65-F5344CB8AC3E}">
        <p14:creationId xmlns:p14="http://schemas.microsoft.com/office/powerpoint/2010/main" val="10775803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aper_POWER_USER_SEPARATOR_ICONS_aircraft_POWER_USER_SEPARATOR_ICONS_airplane_POWER_USER_SEPARATOR_ICONS_play_POWER_USER_SEPARATOR_ICONS_send_POWER_USER_SEPARATOR_ICONS_email_POWER_USER_SEPARATOR_ICONS_messag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heme/theme1.xml><?xml version="1.0" encoding="utf-8"?>
<a:theme xmlns:a="http://schemas.openxmlformats.org/drawingml/2006/main" name="Office Theme">
  <a:themeElements>
    <a:clrScheme name="Custom Marketreach">
      <a:dk1>
        <a:srgbClr val="000000"/>
      </a:dk1>
      <a:lt1>
        <a:srgbClr val="FFFFFF"/>
      </a:lt1>
      <a:dk2>
        <a:srgbClr val="666666"/>
      </a:dk2>
      <a:lt2>
        <a:srgbClr val="FFFFFF"/>
      </a:lt2>
      <a:accent1>
        <a:srgbClr val="E32019"/>
      </a:accent1>
      <a:accent2>
        <a:srgbClr val="EE7975"/>
      </a:accent2>
      <a:accent3>
        <a:srgbClr val="F9D3D1"/>
      </a:accent3>
      <a:accent4>
        <a:srgbClr val="000000"/>
      </a:accent4>
      <a:accent5>
        <a:srgbClr val="666666"/>
      </a:accent5>
      <a:accent6>
        <a:srgbClr val="C1C1C1"/>
      </a:accent6>
      <a:hlink>
        <a:srgbClr val="E32019"/>
      </a:hlink>
      <a:folHlink>
        <a:srgbClr val="E94D47"/>
      </a:folHlink>
    </a:clrScheme>
    <a:fontScheme name="Marketreach fonts">
      <a:majorFont>
        <a:latin typeface="Century Gothic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C8D8A59B4AA4848ADA4BE9476DACB43" ma:contentTypeVersion="14" ma:contentTypeDescription="Create a new document." ma:contentTypeScope="" ma:versionID="70c108b2fcbff4ff9bbeb89ecf086dda">
  <xsd:schema xmlns:xsd="http://www.w3.org/2001/XMLSchema" xmlns:xs="http://www.w3.org/2001/XMLSchema" xmlns:p="http://schemas.microsoft.com/office/2006/metadata/properties" xmlns:ns3="707d9dac-b3e0-4010-a31f-c9f487ae09b7" targetNamespace="http://schemas.microsoft.com/office/2006/metadata/properties" ma:root="true" ma:fieldsID="196871291bfcfa2beb5b3dd12e95e968" ns3:_="">
    <xsd:import namespace="707d9dac-b3e0-4010-a31f-c9f487ae09b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MediaServiceObjectDetectorVersions" minOccurs="0"/>
                <xsd:element ref="ns3:_activity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7d9dac-b3e0-4010-a31f-c9f487ae09b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20" nillable="true" ma:displayName="_activity" ma:hidden="true" ma:internalName="_activity">
      <xsd:simpleType>
        <xsd:restriction base="dms:Note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707d9dac-b3e0-4010-a31f-c9f487ae09b7" xsi:nil="true"/>
  </documentManagement>
</p:properties>
</file>

<file path=customXml/itemProps1.xml><?xml version="1.0" encoding="utf-8"?>
<ds:datastoreItem xmlns:ds="http://schemas.openxmlformats.org/officeDocument/2006/customXml" ds:itemID="{4E1B26B6-C6C1-4C29-AF4B-6725E032746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07d9dac-b3e0-4010-a31f-c9f487ae09b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B9B7A39-CCC6-4ED8-B3FC-BD560E9CD4C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6937AC5-93BF-49A6-B607-CC4F4B0ECEB8}">
  <ds:schemaRefs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707d9dac-b3e0-4010-a31f-c9f487ae09b7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65</Words>
  <Application>Microsoft Office PowerPoint</Application>
  <PresentationFormat>Widescreen</PresentationFormat>
  <Paragraphs>142</Paragraphs>
  <Slides>14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Arial</vt:lpstr>
      <vt:lpstr>Calibri</vt:lpstr>
      <vt:lpstr>Century Gothic</vt:lpstr>
      <vt:lpstr>Impact</vt:lpstr>
      <vt:lpstr>Wingdings</vt:lpstr>
      <vt:lpstr>Office Theme</vt:lpstr>
      <vt:lpstr>ROYAL MAIL SUMMER PROMOTIONS INCENTIVE</vt:lpstr>
      <vt:lpstr>Incentive Content guidance</vt:lpstr>
      <vt:lpstr>Mail achieves high engagement</vt:lpstr>
      <vt:lpstr>Key metrics for retail mail</vt:lpstr>
      <vt:lpstr>COMMERCIAL ENGAGEMENT</vt:lpstr>
      <vt:lpstr>PowerPoint Presentation</vt:lpstr>
      <vt:lpstr>Advertising mail</vt:lpstr>
      <vt:lpstr>Entry requirements</vt:lpstr>
      <vt:lpstr>Offer dates</vt:lpstr>
      <vt:lpstr>Postage credits</vt:lpstr>
      <vt:lpstr>The APPLICATION AND CREDIT process</vt:lpstr>
      <vt:lpstr>The more detail the better!</vt:lpstr>
      <vt:lpstr>Frequently asked question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8-10-03T11:19:32Z</dcterms:created>
  <dcterms:modified xsi:type="dcterms:W3CDTF">2025-04-15T14:17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80f36f3-41a5-4f45-a6a2-e224f336accd_Enabled">
    <vt:lpwstr>true</vt:lpwstr>
  </property>
  <property fmtid="{D5CDD505-2E9C-101B-9397-08002B2CF9AE}" pid="3" name="MSIP_Label_980f36f3-41a5-4f45-a6a2-e224f336accd_SetDate">
    <vt:lpwstr>2021-08-02T15:26:48Z</vt:lpwstr>
  </property>
  <property fmtid="{D5CDD505-2E9C-101B-9397-08002B2CF9AE}" pid="4" name="MSIP_Label_980f36f3-41a5-4f45-a6a2-e224f336accd_Method">
    <vt:lpwstr>Standard</vt:lpwstr>
  </property>
  <property fmtid="{D5CDD505-2E9C-101B-9397-08002B2CF9AE}" pid="5" name="MSIP_Label_980f36f3-41a5-4f45-a6a2-e224f336accd_Name">
    <vt:lpwstr>980f36f3-41a5-4f45-a6a2-e224f336accd</vt:lpwstr>
  </property>
  <property fmtid="{D5CDD505-2E9C-101B-9397-08002B2CF9AE}" pid="6" name="MSIP_Label_980f36f3-41a5-4f45-a6a2-e224f336accd_SiteId">
    <vt:lpwstr>7a082108-90dd-41ac-be41-9b8feabee2da</vt:lpwstr>
  </property>
  <property fmtid="{D5CDD505-2E9C-101B-9397-08002B2CF9AE}" pid="7" name="MSIP_Label_980f36f3-41a5-4f45-a6a2-e224f336accd_ActionId">
    <vt:lpwstr/>
  </property>
  <property fmtid="{D5CDD505-2E9C-101B-9397-08002B2CF9AE}" pid="8" name="MSIP_Label_980f36f3-41a5-4f45-a6a2-e224f336accd_ContentBits">
    <vt:lpwstr>2</vt:lpwstr>
  </property>
  <property fmtid="{D5CDD505-2E9C-101B-9397-08002B2CF9AE}" pid="9" name="ContentTypeId">
    <vt:lpwstr>0x010100FC8D8A59B4AA4848ADA4BE9476DACB43</vt:lpwstr>
  </property>
</Properties>
</file>